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notesSlides/notesSlide12.xml" ContentType="application/vnd.openxmlformats-officedocument.presentationml.notesSlide+xml"/>
  <Override PartName="/ppt/tags/tag41.xml" ContentType="application/vnd.openxmlformats-officedocument.presentationml.tags+xml"/>
  <Override PartName="/ppt/notesSlides/notesSlide13.xml" ContentType="application/vnd.openxmlformats-officedocument.presentationml.notesSlide+xml"/>
  <Override PartName="/ppt/tags/tag42.xml" ContentType="application/vnd.openxmlformats-officedocument.presentationml.tags+xml"/>
  <Override PartName="/ppt/notesSlides/notesSlide14.xml" ContentType="application/vnd.openxmlformats-officedocument.presentationml.notesSlide+xml"/>
  <Override PartName="/ppt/tags/tag43.xml" ContentType="application/vnd.openxmlformats-officedocument.presentationml.tags+xml"/>
  <Override PartName="/ppt/notesSlides/notesSlide15.xml" ContentType="application/vnd.openxmlformats-officedocument.presentationml.notesSlide+xml"/>
  <Override PartName="/ppt/tags/tag44.xml" ContentType="application/vnd.openxmlformats-officedocument.presentationml.tags+xml"/>
  <Override PartName="/ppt/notesSlides/notesSlide16.xml" ContentType="application/vnd.openxmlformats-officedocument.presentationml.notesSlide+xml"/>
  <Override PartName="/ppt/tags/tag45.xml" ContentType="application/vnd.openxmlformats-officedocument.presentationml.tags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22"/>
  </p:notesMasterIdLst>
  <p:sldIdLst>
    <p:sldId id="1021" r:id="rId5"/>
    <p:sldId id="1029" r:id="rId6"/>
    <p:sldId id="1023" r:id="rId7"/>
    <p:sldId id="1014" r:id="rId8"/>
    <p:sldId id="1024" r:id="rId9"/>
    <p:sldId id="1025" r:id="rId10"/>
    <p:sldId id="1041" r:id="rId11"/>
    <p:sldId id="1028" r:id="rId12"/>
    <p:sldId id="1027" r:id="rId13"/>
    <p:sldId id="1026" r:id="rId14"/>
    <p:sldId id="1033" r:id="rId15"/>
    <p:sldId id="1030" r:id="rId16"/>
    <p:sldId id="1031" r:id="rId17"/>
    <p:sldId id="1034" r:id="rId18"/>
    <p:sldId id="1035" r:id="rId19"/>
    <p:sldId id="1040" r:id="rId20"/>
    <p:sldId id="1039" r:id="rId21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orside" id="{E43CFC08-2A36-4E2C-9F1B-9ED963F3CA59}">
          <p14:sldIdLst>
            <p14:sldId id="1021"/>
          </p14:sldIdLst>
        </p14:section>
        <p14:section name="Introduksjon og sammendrag" id="{8F69084D-E14C-401A-A210-43F03184FBE4}">
          <p14:sldIdLst>
            <p14:sldId id="1029"/>
            <p14:sldId id="1023"/>
            <p14:sldId id="1014"/>
            <p14:sldId id="1024"/>
          </p14:sldIdLst>
        </p14:section>
        <p14:section name="Innsikt fra gevinstarbeid" id="{920A3D8D-9877-48DC-9EE6-190AC7059506}">
          <p14:sldIdLst>
            <p14:sldId id="1025"/>
            <p14:sldId id="1041"/>
            <p14:sldId id="1028"/>
            <p14:sldId id="1027"/>
            <p14:sldId id="1026"/>
            <p14:sldId id="1033"/>
            <p14:sldId id="1030"/>
            <p14:sldId id="1031"/>
          </p14:sldIdLst>
        </p14:section>
        <p14:section name="Resultater og refleksjoner" id="{8AD164F1-EEFF-481A-9FAA-469434994116}">
          <p14:sldIdLst>
            <p14:sldId id="1034"/>
            <p14:sldId id="1035"/>
            <p14:sldId id="1040"/>
            <p14:sldId id="103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313B042-F089-D67A-E2DD-09FE30256ABF}" name="Nadia Ravlo (NO)" initials="NR" userId="S::nadia.ravlo@pwc.com::58e7ce19-4638-48c5-a675-b48bc60d470c" providerId="AD"/>
  <p188:author id="{37FFC881-E0AC-B214-D7F4-7443AE61EB6C}" name="Liss Johansen Sandø (NO)" initials="L(" userId="S::liss.johansen.sando@pwc.com::ac1beb6a-2b1f-42ab-b136-69ddf08055c7" providerId="AD"/>
  <p188:author id="{851FB59A-E7F0-6F88-7929-9A34D3401B60}" name="Hedda Hagvåg Samuelsen (NO)" initials="HS" userId="S::hedda.samuelsen@pwc.com::a2e3cc2d-45c7-47a0-8bb5-630d26a32e3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7D31"/>
    <a:srgbClr val="CFD9E6"/>
    <a:srgbClr val="384F69"/>
    <a:srgbClr val="85A0BE"/>
    <a:srgbClr val="F0F2F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280E32-4973-2209-9D16-DDC96E456056}" v="4" dt="2026-03-12T07:54:04.2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76" autoAdjust="0"/>
    <p:restoredTop sz="94664"/>
  </p:normalViewPr>
  <p:slideViewPr>
    <p:cSldViewPr snapToGrid="0">
      <p:cViewPr varScale="1">
        <p:scale>
          <a:sx n="67" d="100"/>
          <a:sy n="67" d="100"/>
        </p:scale>
        <p:origin x="58" y="47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dia Ravlo (NO)" userId="S::nadia.ravlo@pwc.com::58e7ce19-4638-48c5-a675-b48bc60d470c" providerId="AD" clId="Web-{56E46011-F612-BD9A-DE82-20675B79309A}"/>
    <pc:docChg chg="modSld sldOrd">
      <pc:chgData name="Nadia Ravlo (NO)" userId="S::nadia.ravlo@pwc.com::58e7ce19-4638-48c5-a675-b48bc60d470c" providerId="AD" clId="Web-{56E46011-F612-BD9A-DE82-20675B79309A}" dt="2026-03-04T13:42:57.018" v="54"/>
      <pc:docMkLst>
        <pc:docMk/>
      </pc:docMkLst>
      <pc:sldChg chg="addSp delSp">
        <pc:chgData name="Nadia Ravlo (NO)" userId="S::nadia.ravlo@pwc.com::58e7ce19-4638-48c5-a675-b48bc60d470c" providerId="AD" clId="Web-{56E46011-F612-BD9A-DE82-20675B79309A}" dt="2026-03-04T13:42:51.267" v="46"/>
        <pc:sldMkLst>
          <pc:docMk/>
          <pc:sldMk cId="1160017784" sldId="1026"/>
        </pc:sldMkLst>
        <pc:spChg chg="add">
          <ac:chgData name="Nadia Ravlo (NO)" userId="S::nadia.ravlo@pwc.com::58e7ce19-4638-48c5-a675-b48bc60d470c" providerId="AD" clId="Web-{56E46011-F612-BD9A-DE82-20675B79309A}" dt="2026-03-04T13:42:51.236" v="45"/>
          <ac:spMkLst>
            <pc:docMk/>
            <pc:sldMk cId="1160017784" sldId="1026"/>
            <ac:spMk id="4" creationId="{C0730EAA-551A-FECC-FFE0-A2B8057A4C87}"/>
          </ac:spMkLst>
        </pc:spChg>
        <pc:spChg chg="add">
          <ac:chgData name="Nadia Ravlo (NO)" userId="S::nadia.ravlo@pwc.com::58e7ce19-4638-48c5-a675-b48bc60d470c" providerId="AD" clId="Web-{56E46011-F612-BD9A-DE82-20675B79309A}" dt="2026-03-04T13:42:51.267" v="46"/>
          <ac:spMkLst>
            <pc:docMk/>
            <pc:sldMk cId="1160017784" sldId="1026"/>
            <ac:spMk id="7" creationId="{BDCF28FD-9FF4-30B3-A2C1-A1C11AACFF7F}"/>
          </ac:spMkLst>
        </pc:spChg>
      </pc:sldChg>
      <pc:sldChg chg="addSp delSp ord">
        <pc:chgData name="Nadia Ravlo (NO)" userId="S::nadia.ravlo@pwc.com::58e7ce19-4638-48c5-a675-b48bc60d470c" providerId="AD" clId="Web-{56E46011-F612-BD9A-DE82-20675B79309A}" dt="2026-03-04T13:42:47.939" v="42"/>
        <pc:sldMkLst>
          <pc:docMk/>
          <pc:sldMk cId="26649273" sldId="1027"/>
        </pc:sldMkLst>
        <pc:spChg chg="add">
          <ac:chgData name="Nadia Ravlo (NO)" userId="S::nadia.ravlo@pwc.com::58e7ce19-4638-48c5-a675-b48bc60d470c" providerId="AD" clId="Web-{56E46011-F612-BD9A-DE82-20675B79309A}" dt="2026-03-04T13:42:47.923" v="41"/>
          <ac:spMkLst>
            <pc:docMk/>
            <pc:sldMk cId="26649273" sldId="1027"/>
            <ac:spMk id="12" creationId="{EA106AC4-62A5-2BCF-5485-EA6F52D4E23E}"/>
          </ac:spMkLst>
        </pc:spChg>
        <pc:spChg chg="add">
          <ac:chgData name="Nadia Ravlo (NO)" userId="S::nadia.ravlo@pwc.com::58e7ce19-4638-48c5-a675-b48bc60d470c" providerId="AD" clId="Web-{56E46011-F612-BD9A-DE82-20675B79309A}" dt="2026-03-04T13:42:47.939" v="42"/>
          <ac:spMkLst>
            <pc:docMk/>
            <pc:sldMk cId="26649273" sldId="1027"/>
            <ac:spMk id="14" creationId="{B0F3B8EE-95D7-A844-19FB-B144F15A5F34}"/>
          </ac:spMkLst>
        </pc:spChg>
      </pc:sldChg>
      <pc:sldChg chg="addSp delSp">
        <pc:chgData name="Nadia Ravlo (NO)" userId="S::nadia.ravlo@pwc.com::58e7ce19-4638-48c5-a675-b48bc60d470c" providerId="AD" clId="Web-{56E46011-F612-BD9A-DE82-20675B79309A}" dt="2026-03-04T13:42:42.594" v="37"/>
        <pc:sldMkLst>
          <pc:docMk/>
          <pc:sldMk cId="2606618121" sldId="1028"/>
        </pc:sldMkLst>
        <pc:spChg chg="add">
          <ac:chgData name="Nadia Ravlo (NO)" userId="S::nadia.ravlo@pwc.com::58e7ce19-4638-48c5-a675-b48bc60d470c" providerId="AD" clId="Web-{56E46011-F612-BD9A-DE82-20675B79309A}" dt="2026-03-04T13:42:42.579" v="36"/>
          <ac:spMkLst>
            <pc:docMk/>
            <pc:sldMk cId="2606618121" sldId="1028"/>
            <ac:spMk id="4" creationId="{7B454199-8156-CC76-4B68-AC79BEF33218}"/>
          </ac:spMkLst>
        </pc:spChg>
        <pc:spChg chg="add">
          <ac:chgData name="Nadia Ravlo (NO)" userId="S::nadia.ravlo@pwc.com::58e7ce19-4638-48c5-a675-b48bc60d470c" providerId="AD" clId="Web-{56E46011-F612-BD9A-DE82-20675B79309A}" dt="2026-03-04T13:42:42.594" v="37"/>
          <ac:spMkLst>
            <pc:docMk/>
            <pc:sldMk cId="2606618121" sldId="1028"/>
            <ac:spMk id="7" creationId="{3FD1044F-9C16-B292-F279-738767EF0DA6}"/>
          </ac:spMkLst>
        </pc:spChg>
      </pc:sldChg>
      <pc:sldChg chg="ord">
        <pc:chgData name="Nadia Ravlo (NO)" userId="S::nadia.ravlo@pwc.com::58e7ce19-4638-48c5-a675-b48bc60d470c" providerId="AD" clId="Web-{56E46011-F612-BD9A-DE82-20675B79309A}" dt="2026-03-04T13:40:59.531" v="0"/>
        <pc:sldMkLst>
          <pc:docMk/>
          <pc:sldMk cId="1014941829" sldId="1029"/>
        </pc:sldMkLst>
      </pc:sldChg>
      <pc:sldChg chg="addSp delSp">
        <pc:chgData name="Nadia Ravlo (NO)" userId="S::nadia.ravlo@pwc.com::58e7ce19-4638-48c5-a675-b48bc60d470c" providerId="AD" clId="Web-{56E46011-F612-BD9A-DE82-20675B79309A}" dt="2026-03-04T13:42:54.361" v="50"/>
        <pc:sldMkLst>
          <pc:docMk/>
          <pc:sldMk cId="2211252060" sldId="1030"/>
        </pc:sldMkLst>
        <pc:spChg chg="add">
          <ac:chgData name="Nadia Ravlo (NO)" userId="S::nadia.ravlo@pwc.com::58e7ce19-4638-48c5-a675-b48bc60d470c" providerId="AD" clId="Web-{56E46011-F612-BD9A-DE82-20675B79309A}" dt="2026-03-04T13:42:54.330" v="49"/>
          <ac:spMkLst>
            <pc:docMk/>
            <pc:sldMk cId="2211252060" sldId="1030"/>
            <ac:spMk id="4" creationId="{B0E0B0EE-2614-907C-42F6-83366E53294C}"/>
          </ac:spMkLst>
        </pc:spChg>
        <pc:spChg chg="add">
          <ac:chgData name="Nadia Ravlo (NO)" userId="S::nadia.ravlo@pwc.com::58e7ce19-4638-48c5-a675-b48bc60d470c" providerId="AD" clId="Web-{56E46011-F612-BD9A-DE82-20675B79309A}" dt="2026-03-04T13:42:54.361" v="50"/>
          <ac:spMkLst>
            <pc:docMk/>
            <pc:sldMk cId="2211252060" sldId="1030"/>
            <ac:spMk id="6" creationId="{FB15A2D6-673C-8CDF-EBA8-CFA6726C3F6A}"/>
          </ac:spMkLst>
        </pc:spChg>
      </pc:sldChg>
      <pc:sldChg chg="addSp delSp">
        <pc:chgData name="Nadia Ravlo (NO)" userId="S::nadia.ravlo@pwc.com::58e7ce19-4638-48c5-a675-b48bc60d470c" providerId="AD" clId="Web-{56E46011-F612-BD9A-DE82-20675B79309A}" dt="2026-03-04T13:42:57.018" v="54"/>
        <pc:sldMkLst>
          <pc:docMk/>
          <pc:sldMk cId="2254456091" sldId="1031"/>
        </pc:sldMkLst>
        <pc:spChg chg="add">
          <ac:chgData name="Nadia Ravlo (NO)" userId="S::nadia.ravlo@pwc.com::58e7ce19-4638-48c5-a675-b48bc60d470c" providerId="AD" clId="Web-{56E46011-F612-BD9A-DE82-20675B79309A}" dt="2026-03-04T13:42:57.002" v="53"/>
          <ac:spMkLst>
            <pc:docMk/>
            <pc:sldMk cId="2254456091" sldId="1031"/>
            <ac:spMk id="4" creationId="{F1548A07-2F08-8CAF-9E96-FE0EC2AD70A4}"/>
          </ac:spMkLst>
        </pc:spChg>
        <pc:spChg chg="add">
          <ac:chgData name="Nadia Ravlo (NO)" userId="S::nadia.ravlo@pwc.com::58e7ce19-4638-48c5-a675-b48bc60d470c" providerId="AD" clId="Web-{56E46011-F612-BD9A-DE82-20675B79309A}" dt="2026-03-04T13:42:57.018" v="54"/>
          <ac:spMkLst>
            <pc:docMk/>
            <pc:sldMk cId="2254456091" sldId="1031"/>
            <ac:spMk id="6" creationId="{1410519D-3574-06A8-FC35-BAA3496908C3}"/>
          </ac:spMkLst>
        </pc:spChg>
      </pc:sldChg>
      <pc:sldChg chg="addSp modSp">
        <pc:chgData name="Nadia Ravlo (NO)" userId="S::nadia.ravlo@pwc.com::58e7ce19-4638-48c5-a675-b48bc60d470c" providerId="AD" clId="Web-{56E46011-F612-BD9A-DE82-20675B79309A}" dt="2026-03-04T13:42:33.454" v="33" actId="20577"/>
        <pc:sldMkLst>
          <pc:docMk/>
          <pc:sldMk cId="1998224419" sldId="1041"/>
        </pc:sldMkLst>
        <pc:spChg chg="mod">
          <ac:chgData name="Nadia Ravlo (NO)" userId="S::nadia.ravlo@pwc.com::58e7ce19-4638-48c5-a675-b48bc60d470c" providerId="AD" clId="Web-{56E46011-F612-BD9A-DE82-20675B79309A}" dt="2026-03-04T13:41:53.781" v="1" actId="14100"/>
          <ac:spMkLst>
            <pc:docMk/>
            <pc:sldMk cId="1998224419" sldId="1041"/>
            <ac:spMk id="19" creationId="{41E7FABB-E76A-104A-78DF-97A5836B8501}"/>
          </ac:spMkLst>
        </pc:spChg>
        <pc:spChg chg="mod">
          <ac:chgData name="Nadia Ravlo (NO)" userId="S::nadia.ravlo@pwc.com::58e7ce19-4638-48c5-a675-b48bc60d470c" providerId="AD" clId="Web-{56E46011-F612-BD9A-DE82-20675B79309A}" dt="2026-03-04T13:42:33.454" v="33" actId="20577"/>
          <ac:spMkLst>
            <pc:docMk/>
            <pc:sldMk cId="1998224419" sldId="1041"/>
            <ac:spMk id="21" creationId="{BB1002F7-F7CD-7AC7-B368-269D8A93A69C}"/>
          </ac:spMkLst>
        </pc:spChg>
        <pc:grpChg chg="add mod">
          <ac:chgData name="Nadia Ravlo (NO)" userId="S::nadia.ravlo@pwc.com::58e7ce19-4638-48c5-a675-b48bc60d470c" providerId="AD" clId="Web-{56E46011-F612-BD9A-DE82-20675B79309A}" dt="2026-03-04T13:42:06.297" v="6" actId="1076"/>
          <ac:grpSpMkLst>
            <pc:docMk/>
            <pc:sldMk cId="1998224419" sldId="1041"/>
            <ac:grpSpMk id="2" creationId="{C55FF37E-D717-29FE-BEEE-8160C1EE30BC}"/>
          </ac:grpSpMkLst>
        </pc:grpChg>
      </pc:sldChg>
    </pc:docChg>
  </pc:docChgLst>
  <pc:docChgLst>
    <pc:chgData name="Nadia Ravlo (NO)" userId="S::nadia.ravlo@pwc.com::58e7ce19-4638-48c5-a675-b48bc60d470c" providerId="AD" clId="Web-{A1BEE852-DF10-8878-DA81-21DF5489D31E}"/>
    <pc:docChg chg="modSld">
      <pc:chgData name="Nadia Ravlo (NO)" userId="S::nadia.ravlo@pwc.com::58e7ce19-4638-48c5-a675-b48bc60d470c" providerId="AD" clId="Web-{A1BEE852-DF10-8878-DA81-21DF5489D31E}" dt="2026-03-09T07:34:33.601" v="53"/>
      <pc:docMkLst>
        <pc:docMk/>
      </pc:docMkLst>
      <pc:sldChg chg="addSp delSp modSp">
        <pc:chgData name="Nadia Ravlo (NO)" userId="S::nadia.ravlo@pwc.com::58e7ce19-4638-48c5-a675-b48bc60d470c" providerId="AD" clId="Web-{A1BEE852-DF10-8878-DA81-21DF5489D31E}" dt="2026-03-09T07:34:33.601" v="53"/>
        <pc:sldMkLst>
          <pc:docMk/>
          <pc:sldMk cId="3127760707" sldId="1014"/>
        </pc:sldMkLst>
        <pc:graphicFrameChg chg="mod modGraphic">
          <ac:chgData name="Nadia Ravlo (NO)" userId="S::nadia.ravlo@pwc.com::58e7ce19-4638-48c5-a675-b48bc60d470c" providerId="AD" clId="Web-{A1BEE852-DF10-8878-DA81-21DF5489D31E}" dt="2026-03-09T07:34:33.601" v="53"/>
          <ac:graphicFrameMkLst>
            <pc:docMk/>
            <pc:sldMk cId="3127760707" sldId="1014"/>
            <ac:graphicFrameMk id="40" creationId="{E1B175CF-770D-3F04-A6DC-26B5F705E384}"/>
          </ac:graphicFrameMkLst>
        </pc:graphicFrameChg>
      </pc:sldChg>
    </pc:docChg>
  </pc:docChgLst>
  <pc:docChgLst>
    <pc:chgData name="Liss Johansen Sandø (NO)" userId="S::liss.johansen.sando@pwc.com::ac1beb6a-2b1f-42ab-b136-69ddf08055c7" providerId="AD" clId="Web-{67C4506C-9B62-4577-B31F-13AAB30A80EB}"/>
    <pc:docChg chg="mod delSld modSld modSection">
      <pc:chgData name="Liss Johansen Sandø (NO)" userId="S::liss.johansen.sando@pwc.com::ac1beb6a-2b1f-42ab-b136-69ddf08055c7" providerId="AD" clId="Web-{67C4506C-9B62-4577-B31F-13AAB30A80EB}" dt="2026-03-04T11:22:37.297" v="19"/>
      <pc:docMkLst>
        <pc:docMk/>
      </pc:docMkLst>
      <pc:sldChg chg="modSp modCm">
        <pc:chgData name="Liss Johansen Sandø (NO)" userId="S::liss.johansen.sando@pwc.com::ac1beb6a-2b1f-42ab-b136-69ddf08055c7" providerId="AD" clId="Web-{67C4506C-9B62-4577-B31F-13AAB30A80EB}" dt="2026-03-04T11:08:16.231" v="5" actId="20577"/>
        <pc:sldMkLst>
          <pc:docMk/>
          <pc:sldMk cId="3127760707" sldId="1014"/>
        </pc:sldMkLst>
        <pc:spChg chg="mod">
          <ac:chgData name="Liss Johansen Sandø (NO)" userId="S::liss.johansen.sando@pwc.com::ac1beb6a-2b1f-42ab-b136-69ddf08055c7" providerId="AD" clId="Web-{67C4506C-9B62-4577-B31F-13AAB30A80EB}" dt="2026-03-04T11:08:16.231" v="5" actId="20577"/>
          <ac:spMkLst>
            <pc:docMk/>
            <pc:sldMk cId="3127760707" sldId="1014"/>
            <ac:spMk id="2" creationId="{2174A0CC-989F-BB62-E000-F7A1E0C20B5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iss Johansen Sandø (NO)" userId="S::liss.johansen.sando@pwc.com::ac1beb6a-2b1f-42ab-b136-69ddf08055c7" providerId="AD" clId="Web-{67C4506C-9B62-4577-B31F-13AAB30A80EB}" dt="2026-03-04T11:08:16.231" v="5" actId="20577"/>
              <pc2:cmMkLst xmlns:pc2="http://schemas.microsoft.com/office/powerpoint/2019/9/main/command">
                <pc:docMk/>
                <pc:sldMk cId="3127760707" sldId="1014"/>
                <pc2:cmMk id="{A25CCF57-0EE6-4C64-BAE2-CB8CAE1D4579}"/>
              </pc2:cmMkLst>
            </pc226:cmChg>
          </p:ext>
        </pc:extLst>
      </pc:sldChg>
      <pc:sldChg chg="modSp">
        <pc:chgData name="Liss Johansen Sandø (NO)" userId="S::liss.johansen.sando@pwc.com::ac1beb6a-2b1f-42ab-b136-69ddf08055c7" providerId="AD" clId="Web-{67C4506C-9B62-4577-B31F-13AAB30A80EB}" dt="2026-03-04T11:10:45.435" v="8" actId="20577"/>
        <pc:sldMkLst>
          <pc:docMk/>
          <pc:sldMk cId="867275629" sldId="1024"/>
        </pc:sldMkLst>
        <pc:spChg chg="mod">
          <ac:chgData name="Liss Johansen Sandø (NO)" userId="S::liss.johansen.sando@pwc.com::ac1beb6a-2b1f-42ab-b136-69ddf08055c7" providerId="AD" clId="Web-{67C4506C-9B62-4577-B31F-13AAB30A80EB}" dt="2026-03-04T11:10:45.435" v="8" actId="20577"/>
          <ac:spMkLst>
            <pc:docMk/>
            <pc:sldMk cId="867275629" sldId="1024"/>
            <ac:spMk id="39" creationId="{449764AB-5E3E-F8E5-5E65-8629646FE77C}"/>
          </ac:spMkLst>
        </pc:spChg>
      </pc:sldChg>
      <pc:sldChg chg="modSp">
        <pc:chgData name="Liss Johansen Sandø (NO)" userId="S::liss.johansen.sando@pwc.com::ac1beb6a-2b1f-42ab-b136-69ddf08055c7" providerId="AD" clId="Web-{67C4506C-9B62-4577-B31F-13AAB30A80EB}" dt="2026-03-04T11:15:17.281" v="16" actId="20577"/>
        <pc:sldMkLst>
          <pc:docMk/>
          <pc:sldMk cId="1160017784" sldId="1026"/>
        </pc:sldMkLst>
        <pc:spChg chg="mod">
          <ac:chgData name="Liss Johansen Sandø (NO)" userId="S::liss.johansen.sando@pwc.com::ac1beb6a-2b1f-42ab-b136-69ddf08055c7" providerId="AD" clId="Web-{67C4506C-9B62-4577-B31F-13AAB30A80EB}" dt="2026-03-04T11:15:17.281" v="16" actId="20577"/>
          <ac:spMkLst>
            <pc:docMk/>
            <pc:sldMk cId="1160017784" sldId="1026"/>
            <ac:spMk id="11" creationId="{8C2BA68B-2C35-B9A6-F606-65F2467AFC37}"/>
          </ac:spMkLst>
        </pc:spChg>
      </pc:sldChg>
      <pc:sldChg chg="modSp">
        <pc:chgData name="Liss Johansen Sandø (NO)" userId="S::liss.johansen.sando@pwc.com::ac1beb6a-2b1f-42ab-b136-69ddf08055c7" providerId="AD" clId="Web-{67C4506C-9B62-4577-B31F-13AAB30A80EB}" dt="2026-03-04T11:14:15.125" v="14" actId="20577"/>
        <pc:sldMkLst>
          <pc:docMk/>
          <pc:sldMk cId="26649273" sldId="1027"/>
        </pc:sldMkLst>
        <pc:spChg chg="mod">
          <ac:chgData name="Liss Johansen Sandø (NO)" userId="S::liss.johansen.sando@pwc.com::ac1beb6a-2b1f-42ab-b136-69ddf08055c7" providerId="AD" clId="Web-{67C4506C-9B62-4577-B31F-13AAB30A80EB}" dt="2026-03-04T11:14:15.125" v="14" actId="20577"/>
          <ac:spMkLst>
            <pc:docMk/>
            <pc:sldMk cId="26649273" sldId="1027"/>
            <ac:spMk id="10" creationId="{348717F2-695F-67C8-1565-424C37433362}"/>
          </ac:spMkLst>
        </pc:spChg>
      </pc:sldChg>
      <pc:sldChg chg="modSp">
        <pc:chgData name="Liss Johansen Sandø (NO)" userId="S::liss.johansen.sando@pwc.com::ac1beb6a-2b1f-42ab-b136-69ddf08055c7" providerId="AD" clId="Web-{67C4506C-9B62-4577-B31F-13AAB30A80EB}" dt="2026-03-04T11:13:16.859" v="12" actId="20577"/>
        <pc:sldMkLst>
          <pc:docMk/>
          <pc:sldMk cId="2606618121" sldId="1028"/>
        </pc:sldMkLst>
        <pc:spChg chg="mod">
          <ac:chgData name="Liss Johansen Sandø (NO)" userId="S::liss.johansen.sando@pwc.com::ac1beb6a-2b1f-42ab-b136-69ddf08055c7" providerId="AD" clId="Web-{67C4506C-9B62-4577-B31F-13AAB30A80EB}" dt="2026-03-04T11:13:16.859" v="12" actId="20577"/>
          <ac:spMkLst>
            <pc:docMk/>
            <pc:sldMk cId="2606618121" sldId="1028"/>
            <ac:spMk id="10" creationId="{A596873E-9ED7-EF17-CA3A-D42A8765241B}"/>
          </ac:spMkLst>
        </pc:spChg>
      </pc:sldChg>
      <pc:sldChg chg="modSp">
        <pc:chgData name="Liss Johansen Sandø (NO)" userId="S::liss.johansen.sando@pwc.com::ac1beb6a-2b1f-42ab-b136-69ddf08055c7" providerId="AD" clId="Web-{67C4506C-9B62-4577-B31F-13AAB30A80EB}" dt="2026-03-04T11:20:06.778" v="17" actId="20577"/>
        <pc:sldMkLst>
          <pc:docMk/>
          <pc:sldMk cId="2211252060" sldId="1030"/>
        </pc:sldMkLst>
        <pc:spChg chg="mod">
          <ac:chgData name="Liss Johansen Sandø (NO)" userId="S::liss.johansen.sando@pwc.com::ac1beb6a-2b1f-42ab-b136-69ddf08055c7" providerId="AD" clId="Web-{67C4506C-9B62-4577-B31F-13AAB30A80EB}" dt="2026-03-04T11:20:06.778" v="17" actId="20577"/>
          <ac:spMkLst>
            <pc:docMk/>
            <pc:sldMk cId="2211252060" sldId="1030"/>
            <ac:spMk id="3" creationId="{B77FBBAA-B2BB-E72A-3B7C-F1E8F6DE86D1}"/>
          </ac:spMkLst>
        </pc:spChg>
      </pc:sldChg>
      <pc:sldChg chg="modSp">
        <pc:chgData name="Liss Johansen Sandø (NO)" userId="S::liss.johansen.sando@pwc.com::ac1beb6a-2b1f-42ab-b136-69ddf08055c7" providerId="AD" clId="Web-{67C4506C-9B62-4577-B31F-13AAB30A80EB}" dt="2026-03-04T11:20:30.497" v="18" actId="20577"/>
        <pc:sldMkLst>
          <pc:docMk/>
          <pc:sldMk cId="2254456091" sldId="1031"/>
        </pc:sldMkLst>
        <pc:spChg chg="mod">
          <ac:chgData name="Liss Johansen Sandø (NO)" userId="S::liss.johansen.sando@pwc.com::ac1beb6a-2b1f-42ab-b136-69ddf08055c7" providerId="AD" clId="Web-{67C4506C-9B62-4577-B31F-13AAB30A80EB}" dt="2026-03-04T11:20:30.497" v="18" actId="20577"/>
          <ac:spMkLst>
            <pc:docMk/>
            <pc:sldMk cId="2254456091" sldId="1031"/>
            <ac:spMk id="3" creationId="{E1BC61F4-87B5-10AD-70BA-549456A358FA}"/>
          </ac:spMkLst>
        </pc:spChg>
      </pc:sldChg>
      <pc:sldChg chg="modSp">
        <pc:chgData name="Liss Johansen Sandø (NO)" userId="S::liss.johansen.sando@pwc.com::ac1beb6a-2b1f-42ab-b136-69ddf08055c7" providerId="AD" clId="Web-{67C4506C-9B62-4577-B31F-13AAB30A80EB}" dt="2026-03-04T11:13:09.499" v="10" actId="20577"/>
        <pc:sldMkLst>
          <pc:docMk/>
          <pc:sldMk cId="1998224419" sldId="1041"/>
        </pc:sldMkLst>
        <pc:spChg chg="mod">
          <ac:chgData name="Liss Johansen Sandø (NO)" userId="S::liss.johansen.sando@pwc.com::ac1beb6a-2b1f-42ab-b136-69ddf08055c7" providerId="AD" clId="Web-{67C4506C-9B62-4577-B31F-13AAB30A80EB}" dt="2026-03-04T11:13:09.499" v="10" actId="20577"/>
          <ac:spMkLst>
            <pc:docMk/>
            <pc:sldMk cId="1998224419" sldId="1041"/>
            <ac:spMk id="10" creationId="{0C72EFC4-BC42-C9C4-BED2-D8BA26DE0568}"/>
          </ac:spMkLst>
        </pc:spChg>
      </pc:sldChg>
    </pc:docChg>
  </pc:docChgLst>
  <pc:docChgLst>
    <pc:chgData name="Nadia Ravlo (NO)" userId="S::nadia.ravlo@pwc.com::58e7ce19-4638-48c5-a675-b48bc60d470c" providerId="AD" clId="Web-{46EF90F5-6697-BFB5-0F82-1C033FFEA34B}"/>
    <pc:docChg chg="modSld">
      <pc:chgData name="Nadia Ravlo (NO)" userId="S::nadia.ravlo@pwc.com::58e7ce19-4638-48c5-a675-b48bc60d470c" providerId="AD" clId="Web-{46EF90F5-6697-BFB5-0F82-1C033FFEA34B}" dt="2026-03-04T13:47:29.557" v="25"/>
      <pc:docMkLst>
        <pc:docMk/>
      </pc:docMkLst>
      <pc:sldChg chg="modSp modCm">
        <pc:chgData name="Nadia Ravlo (NO)" userId="S::nadia.ravlo@pwc.com::58e7ce19-4638-48c5-a675-b48bc60d470c" providerId="AD" clId="Web-{46EF90F5-6697-BFB5-0F82-1C033FFEA34B}" dt="2026-03-04T13:47:29.557" v="25"/>
        <pc:sldMkLst>
          <pc:docMk/>
          <pc:sldMk cId="3127760707" sldId="1014"/>
        </pc:sldMkLst>
        <pc:spChg chg="mod">
          <ac:chgData name="Nadia Ravlo (NO)" userId="S::nadia.ravlo@pwc.com::58e7ce19-4638-48c5-a675-b48bc60d470c" providerId="AD" clId="Web-{46EF90F5-6697-BFB5-0F82-1C033FFEA34B}" dt="2026-03-04T13:47:21.338" v="12" actId="20577"/>
          <ac:spMkLst>
            <pc:docMk/>
            <pc:sldMk cId="3127760707" sldId="1014"/>
            <ac:spMk id="2" creationId="{2174A0CC-989F-BB62-E000-F7A1E0C20B5D}"/>
          </ac:spMkLst>
        </pc:spChg>
        <pc:graphicFrameChg chg="mod modGraphic">
          <ac:chgData name="Nadia Ravlo (NO)" userId="S::nadia.ravlo@pwc.com::58e7ce19-4638-48c5-a675-b48bc60d470c" providerId="AD" clId="Web-{46EF90F5-6697-BFB5-0F82-1C033FFEA34B}" dt="2026-03-04T13:47:29.557" v="25"/>
          <ac:graphicFrameMkLst>
            <pc:docMk/>
            <pc:sldMk cId="3127760707" sldId="1014"/>
            <ac:graphicFrameMk id="40" creationId="{E1B175CF-770D-3F04-A6DC-26B5F705E38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ia Ravlo (NO)" userId="S::nadia.ravlo@pwc.com::58e7ce19-4638-48c5-a675-b48bc60d470c" providerId="AD" clId="Web-{46EF90F5-6697-BFB5-0F82-1C033FFEA34B}" dt="2026-03-04T13:47:21.338" v="11" actId="20577"/>
              <pc2:cmMkLst xmlns:pc2="http://schemas.microsoft.com/office/powerpoint/2019/9/main/command">
                <pc:docMk/>
                <pc:sldMk cId="3127760707" sldId="1014"/>
                <pc2:cmMk id="{A25CCF57-0EE6-4C64-BAE2-CB8CAE1D4579}"/>
              </pc2:cmMkLst>
            </pc226:cmChg>
          </p:ext>
        </pc:extLst>
      </pc:sldChg>
    </pc:docChg>
  </pc:docChgLst>
  <pc:docChgLst>
    <pc:chgData name="Hedda Hagvåg Samuelsen (NO)" userId="S::hedda.samuelsen@pwc.com::a2e3cc2d-45c7-47a0-8bb5-630d26a32e32" providerId="AD" clId="Web-{26280E32-4973-2209-9D16-DDC96E456056}"/>
    <pc:docChg chg="modSld">
      <pc:chgData name="Hedda Hagvåg Samuelsen (NO)" userId="S::hedda.samuelsen@pwc.com::a2e3cc2d-45c7-47a0-8bb5-630d26a32e32" providerId="AD" clId="Web-{26280E32-4973-2209-9D16-DDC96E456056}" dt="2026-03-12T07:54:04.274" v="3" actId="1076"/>
      <pc:docMkLst>
        <pc:docMk/>
      </pc:docMkLst>
      <pc:sldChg chg="modSp">
        <pc:chgData name="Hedda Hagvåg Samuelsen (NO)" userId="S::hedda.samuelsen@pwc.com::a2e3cc2d-45c7-47a0-8bb5-630d26a32e32" providerId="AD" clId="Web-{26280E32-4973-2209-9D16-DDC96E456056}" dt="2026-03-12T07:53:42.617" v="1" actId="20577"/>
        <pc:sldMkLst>
          <pc:docMk/>
          <pc:sldMk cId="3127760707" sldId="1014"/>
        </pc:sldMkLst>
        <pc:spChg chg="mod">
          <ac:chgData name="Hedda Hagvåg Samuelsen (NO)" userId="S::hedda.samuelsen@pwc.com::a2e3cc2d-45c7-47a0-8bb5-630d26a32e32" providerId="AD" clId="Web-{26280E32-4973-2209-9D16-DDC96E456056}" dt="2026-03-12T07:53:42.617" v="1" actId="20577"/>
          <ac:spMkLst>
            <pc:docMk/>
            <pc:sldMk cId="3127760707" sldId="1014"/>
            <ac:spMk id="2" creationId="{2174A0CC-989F-BB62-E000-F7A1E0C20B5D}"/>
          </ac:spMkLst>
        </pc:spChg>
      </pc:sldChg>
      <pc:sldChg chg="modSp">
        <pc:chgData name="Hedda Hagvåg Samuelsen (NO)" userId="S::hedda.samuelsen@pwc.com::a2e3cc2d-45c7-47a0-8bb5-630d26a32e32" providerId="AD" clId="Web-{26280E32-4973-2209-9D16-DDC96E456056}" dt="2026-03-12T07:54:04.274" v="3" actId="1076"/>
        <pc:sldMkLst>
          <pc:docMk/>
          <pc:sldMk cId="1396018134" sldId="1033"/>
        </pc:sldMkLst>
        <pc:spChg chg="mod">
          <ac:chgData name="Hedda Hagvåg Samuelsen (NO)" userId="S::hedda.samuelsen@pwc.com::a2e3cc2d-45c7-47a0-8bb5-630d26a32e32" providerId="AD" clId="Web-{26280E32-4973-2209-9D16-DDC96E456056}" dt="2026-03-12T07:54:04.274" v="3" actId="1076"/>
          <ac:spMkLst>
            <pc:docMk/>
            <pc:sldMk cId="1396018134" sldId="1033"/>
            <ac:spMk id="743" creationId="{BDC12513-467B-269D-B56A-26E1283B7EDB}"/>
          </ac:spMkLst>
        </pc:spChg>
      </pc:sldChg>
      <pc:sldChg chg="modSp">
        <pc:chgData name="Hedda Hagvåg Samuelsen (NO)" userId="S::hedda.samuelsen@pwc.com::a2e3cc2d-45c7-47a0-8bb5-630d26a32e32" providerId="AD" clId="Web-{26280E32-4973-2209-9D16-DDC96E456056}" dt="2026-03-12T07:53:58.805" v="2" actId="1076"/>
        <pc:sldMkLst>
          <pc:docMk/>
          <pc:sldMk cId="3299127209" sldId="1034"/>
        </pc:sldMkLst>
        <pc:spChg chg="mod">
          <ac:chgData name="Hedda Hagvåg Samuelsen (NO)" userId="S::hedda.samuelsen@pwc.com::a2e3cc2d-45c7-47a0-8bb5-630d26a32e32" providerId="AD" clId="Web-{26280E32-4973-2209-9D16-DDC96E456056}" dt="2026-03-12T07:53:58.805" v="2" actId="1076"/>
          <ac:spMkLst>
            <pc:docMk/>
            <pc:sldMk cId="3299127209" sldId="1034"/>
            <ac:spMk id="743" creationId="{7F21FA33-FA96-3F7D-31F8-CEE1231A06CD}"/>
          </ac:spMkLst>
        </pc:spChg>
      </pc:sldChg>
    </pc:docChg>
  </pc:docChgLst>
  <pc:docChgLst>
    <pc:chgData name="Nadia Ravlo (NO)" userId="S::nadia.ravlo@pwc.com::58e7ce19-4638-48c5-a675-b48bc60d470c" providerId="AD" clId="Web-{A1AE3A7A-A1AF-F0DD-3BCF-2A7DB085B24A}"/>
    <pc:docChg chg="modSld">
      <pc:chgData name="Nadia Ravlo (NO)" userId="S::nadia.ravlo@pwc.com::58e7ce19-4638-48c5-a675-b48bc60d470c" providerId="AD" clId="Web-{A1AE3A7A-A1AF-F0DD-3BCF-2A7DB085B24A}" dt="2026-03-09T07:25:39.464" v="28" actId="20577"/>
      <pc:docMkLst>
        <pc:docMk/>
      </pc:docMkLst>
      <pc:sldChg chg="modSp">
        <pc:chgData name="Nadia Ravlo (NO)" userId="S::nadia.ravlo@pwc.com::58e7ce19-4638-48c5-a675-b48bc60d470c" providerId="AD" clId="Web-{A1AE3A7A-A1AF-F0DD-3BCF-2A7DB085B24A}" dt="2026-03-09T07:22:53.370" v="20"/>
        <pc:sldMkLst>
          <pc:docMk/>
          <pc:sldMk cId="3127760707" sldId="1014"/>
        </pc:sldMkLst>
        <pc:spChg chg="mod">
          <ac:chgData name="Nadia Ravlo (NO)" userId="S::nadia.ravlo@pwc.com::58e7ce19-4638-48c5-a675-b48bc60d470c" providerId="AD" clId="Web-{A1AE3A7A-A1AF-F0DD-3BCF-2A7DB085B24A}" dt="2026-03-09T07:22:50.729" v="18" actId="20577"/>
          <ac:spMkLst>
            <pc:docMk/>
            <pc:sldMk cId="3127760707" sldId="1014"/>
            <ac:spMk id="43" creationId="{FB61F946-A20F-9E34-FFFE-CC9C0BF03870}"/>
          </ac:spMkLst>
        </pc:spChg>
        <pc:graphicFrameChg chg="mod modGraphic">
          <ac:chgData name="Nadia Ravlo (NO)" userId="S::nadia.ravlo@pwc.com::58e7ce19-4638-48c5-a675-b48bc60d470c" providerId="AD" clId="Web-{A1AE3A7A-A1AF-F0DD-3BCF-2A7DB085B24A}" dt="2026-03-09T07:22:53.370" v="20"/>
          <ac:graphicFrameMkLst>
            <pc:docMk/>
            <pc:sldMk cId="3127760707" sldId="1014"/>
            <ac:graphicFrameMk id="40" creationId="{E1B175CF-770D-3F04-A6DC-26B5F705E384}"/>
          </ac:graphicFrameMkLst>
        </pc:graphicFrameChg>
      </pc:sldChg>
      <pc:sldChg chg="modSp">
        <pc:chgData name="Nadia Ravlo (NO)" userId="S::nadia.ravlo@pwc.com::58e7ce19-4638-48c5-a675-b48bc60d470c" providerId="AD" clId="Web-{A1AE3A7A-A1AF-F0DD-3BCF-2A7DB085B24A}" dt="2026-03-09T07:25:20.371" v="22" actId="20577"/>
        <pc:sldMkLst>
          <pc:docMk/>
          <pc:sldMk cId="867275629" sldId="1024"/>
        </pc:sldMkLst>
        <pc:spChg chg="mod">
          <ac:chgData name="Nadia Ravlo (NO)" userId="S::nadia.ravlo@pwc.com::58e7ce19-4638-48c5-a675-b48bc60d470c" providerId="AD" clId="Web-{A1AE3A7A-A1AF-F0DD-3BCF-2A7DB085B24A}" dt="2026-03-09T07:25:20.371" v="22" actId="20577"/>
          <ac:spMkLst>
            <pc:docMk/>
            <pc:sldMk cId="867275629" sldId="1024"/>
            <ac:spMk id="39" creationId="{449764AB-5E3E-F8E5-5E65-8629646FE77C}"/>
          </ac:spMkLst>
        </pc:spChg>
      </pc:sldChg>
      <pc:sldChg chg="addSp delSp">
        <pc:chgData name="Nadia Ravlo (NO)" userId="S::nadia.ravlo@pwc.com::58e7ce19-4638-48c5-a675-b48bc60d470c" providerId="AD" clId="Web-{A1AE3A7A-A1AF-F0DD-3BCF-2A7DB085B24A}" dt="2026-03-09T07:25:39.074" v="27"/>
        <pc:sldMkLst>
          <pc:docMk/>
          <pc:sldMk cId="2606618121" sldId="1028"/>
        </pc:sldMkLst>
        <pc:grpChg chg="add del">
          <ac:chgData name="Nadia Ravlo (NO)" userId="S::nadia.ravlo@pwc.com::58e7ce19-4638-48c5-a675-b48bc60d470c" providerId="AD" clId="Web-{A1AE3A7A-A1AF-F0DD-3BCF-2A7DB085B24A}" dt="2026-03-09T07:25:39.074" v="27"/>
          <ac:grpSpMkLst>
            <pc:docMk/>
            <pc:sldMk cId="2606618121" sldId="1028"/>
            <ac:grpSpMk id="9" creationId="{1E2EE929-49BD-9FB1-0284-10273E8BA578}"/>
          </ac:grpSpMkLst>
        </pc:grpChg>
      </pc:sldChg>
      <pc:sldChg chg="modSp">
        <pc:chgData name="Nadia Ravlo (NO)" userId="S::nadia.ravlo@pwc.com::58e7ce19-4638-48c5-a675-b48bc60d470c" providerId="AD" clId="Web-{A1AE3A7A-A1AF-F0DD-3BCF-2A7DB085B24A}" dt="2026-03-09T07:25:39.464" v="28" actId="20577"/>
        <pc:sldMkLst>
          <pc:docMk/>
          <pc:sldMk cId="1998224419" sldId="1041"/>
        </pc:sldMkLst>
        <pc:spChg chg="mod">
          <ac:chgData name="Nadia Ravlo (NO)" userId="S::nadia.ravlo@pwc.com::58e7ce19-4638-48c5-a675-b48bc60d470c" providerId="AD" clId="Web-{A1AE3A7A-A1AF-F0DD-3BCF-2A7DB085B24A}" dt="2026-03-09T07:25:39.464" v="28" actId="20577"/>
          <ac:spMkLst>
            <pc:docMk/>
            <pc:sldMk cId="1998224419" sldId="1041"/>
            <ac:spMk id="10" creationId="{0C72EFC4-BC42-C9C4-BED2-D8BA26DE0568}"/>
          </ac:spMkLst>
        </pc:spChg>
      </pc:sldChg>
    </pc:docChg>
  </pc:docChgLst>
  <pc:docChgLst>
    <pc:chgData name="Nadia Ravlo (NO)" userId="S::nadia.ravlo@pwc.com::58e7ce19-4638-48c5-a675-b48bc60d470c" providerId="AD" clId="Web-{626DE76D-18BB-E9C7-13F7-36C50323A321}"/>
    <pc:docChg chg="modSld sldOrd">
      <pc:chgData name="Nadia Ravlo (NO)" userId="S::nadia.ravlo@pwc.com::58e7ce19-4638-48c5-a675-b48bc60d470c" providerId="AD" clId="Web-{626DE76D-18BB-E9C7-13F7-36C50323A321}" dt="2026-03-04T11:57:25.497" v="89" actId="20577"/>
      <pc:docMkLst>
        <pc:docMk/>
      </pc:docMkLst>
      <pc:sldChg chg="addSp delSp modSp">
        <pc:chgData name="Nadia Ravlo (NO)" userId="S::nadia.ravlo@pwc.com::58e7ce19-4638-48c5-a675-b48bc60d470c" providerId="AD" clId="Web-{626DE76D-18BB-E9C7-13F7-36C50323A321}" dt="2026-03-04T11:55:14.683" v="46"/>
        <pc:sldMkLst>
          <pc:docMk/>
          <pc:sldMk cId="1160017784" sldId="1026"/>
        </pc:sldMkLst>
      </pc:sldChg>
      <pc:sldChg chg="addSp modSp">
        <pc:chgData name="Nadia Ravlo (NO)" userId="S::nadia.ravlo@pwc.com::58e7ce19-4638-48c5-a675-b48bc60d470c" providerId="AD" clId="Web-{626DE76D-18BB-E9C7-13F7-36C50323A321}" dt="2026-03-04T11:54:41.370" v="38" actId="1076"/>
        <pc:sldMkLst>
          <pc:docMk/>
          <pc:sldMk cId="26649273" sldId="1027"/>
        </pc:sldMkLst>
      </pc:sldChg>
      <pc:sldChg chg="addSp delSp modSp ord modCm">
        <pc:chgData name="Nadia Ravlo (NO)" userId="S::nadia.ravlo@pwc.com::58e7ce19-4638-48c5-a675-b48bc60d470c" providerId="AD" clId="Web-{626DE76D-18BB-E9C7-13F7-36C50323A321}" dt="2026-03-04T11:56:50.731" v="70"/>
        <pc:sldMkLst>
          <pc:docMk/>
          <pc:sldMk cId="2606618121" sldId="102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ia Ravlo (NO)" userId="S::nadia.ravlo@pwc.com::58e7ce19-4638-48c5-a675-b48bc60d470c" providerId="AD" clId="Web-{626DE76D-18BB-E9C7-13F7-36C50323A321}" dt="2026-03-04T11:51:27.708" v="0" actId="20577"/>
              <pc2:cmMkLst xmlns:pc2="http://schemas.microsoft.com/office/powerpoint/2019/9/main/command">
                <pc:docMk/>
                <pc:sldMk cId="2606618121" sldId="1028"/>
                <pc2:cmMk id="{AAB0622E-B5E5-4E39-ADF1-F9E9B9295902}"/>
              </pc2:cmMkLst>
            </pc226:cmChg>
          </p:ext>
        </pc:extLst>
      </pc:sldChg>
      <pc:sldChg chg="addSp delSp">
        <pc:chgData name="Nadia Ravlo (NO)" userId="S::nadia.ravlo@pwc.com::58e7ce19-4638-48c5-a675-b48bc60d470c" providerId="AD" clId="Web-{626DE76D-18BB-E9C7-13F7-36C50323A321}" dt="2026-03-04T11:57:02.575" v="73"/>
        <pc:sldMkLst>
          <pc:docMk/>
          <pc:sldMk cId="2211252060" sldId="1030"/>
        </pc:sldMkLst>
      </pc:sldChg>
      <pc:sldChg chg="addSp delSp ord">
        <pc:chgData name="Nadia Ravlo (NO)" userId="S::nadia.ravlo@pwc.com::58e7ce19-4638-48c5-a675-b48bc60d470c" providerId="AD" clId="Web-{626DE76D-18BB-E9C7-13F7-36C50323A321}" dt="2026-03-04T11:57:05.607" v="77"/>
        <pc:sldMkLst>
          <pc:docMk/>
          <pc:sldMk cId="2254456091" sldId="1031"/>
        </pc:sldMkLst>
      </pc:sldChg>
      <pc:sldChg chg="modSp">
        <pc:chgData name="Nadia Ravlo (NO)" userId="S::nadia.ravlo@pwc.com::58e7ce19-4638-48c5-a675-b48bc60d470c" providerId="AD" clId="Web-{626DE76D-18BB-E9C7-13F7-36C50323A321}" dt="2026-03-04T11:57:25.497" v="89" actId="20577"/>
        <pc:sldMkLst>
          <pc:docMk/>
          <pc:sldMk cId="3416181547" sldId="1040"/>
        </pc:sldMkLst>
        <pc:spChg chg="mod">
          <ac:chgData name="Nadia Ravlo (NO)" userId="S::nadia.ravlo@pwc.com::58e7ce19-4638-48c5-a675-b48bc60d470c" providerId="AD" clId="Web-{626DE76D-18BB-E9C7-13F7-36C50323A321}" dt="2026-03-04T11:57:23.826" v="87" actId="20577"/>
          <ac:spMkLst>
            <pc:docMk/>
            <pc:sldMk cId="3416181547" sldId="1040"/>
            <ac:spMk id="10" creationId="{DAA736F5-0FB6-5832-C32D-CDD601FC2179}"/>
          </ac:spMkLst>
        </pc:spChg>
        <pc:spChg chg="mod">
          <ac:chgData name="Nadia Ravlo (NO)" userId="S::nadia.ravlo@pwc.com::58e7ce19-4638-48c5-a675-b48bc60d470c" providerId="AD" clId="Web-{626DE76D-18BB-E9C7-13F7-36C50323A321}" dt="2026-03-04T11:57:19.107" v="85" actId="20577"/>
          <ac:spMkLst>
            <pc:docMk/>
            <pc:sldMk cId="3416181547" sldId="1040"/>
            <ac:spMk id="12" creationId="{B847D248-BE12-B164-8F9A-F126FC493D94}"/>
          </ac:spMkLst>
        </pc:spChg>
        <pc:spChg chg="mod">
          <ac:chgData name="Nadia Ravlo (NO)" userId="S::nadia.ravlo@pwc.com::58e7ce19-4638-48c5-a675-b48bc60d470c" providerId="AD" clId="Web-{626DE76D-18BB-E9C7-13F7-36C50323A321}" dt="2026-03-04T11:57:25.497" v="89" actId="20577"/>
          <ac:spMkLst>
            <pc:docMk/>
            <pc:sldMk cId="3416181547" sldId="1040"/>
            <ac:spMk id="13" creationId="{DDE259E3-95B9-8B09-A694-9311B777256F}"/>
          </ac:spMkLst>
        </pc:spChg>
      </pc:sldChg>
      <pc:sldChg chg="addSp delSp modSp">
        <pc:chgData name="Nadia Ravlo (NO)" userId="S::nadia.ravlo@pwc.com::58e7ce19-4638-48c5-a675-b48bc60d470c" providerId="AD" clId="Web-{626DE76D-18BB-E9C7-13F7-36C50323A321}" dt="2026-03-04T11:56:46.575" v="69" actId="1076"/>
        <pc:sldMkLst>
          <pc:docMk/>
          <pc:sldMk cId="1998224419" sldId="1041"/>
        </pc:sldMkLst>
        <pc:spChg chg="mod">
          <ac:chgData name="Nadia Ravlo (NO)" userId="S::nadia.ravlo@pwc.com::58e7ce19-4638-48c5-a675-b48bc60d470c" providerId="AD" clId="Web-{626DE76D-18BB-E9C7-13F7-36C50323A321}" dt="2026-03-04T11:55:28.730" v="52" actId="20577"/>
          <ac:spMkLst>
            <pc:docMk/>
            <pc:sldMk cId="1998224419" sldId="1041"/>
            <ac:spMk id="3" creationId="{81DFC112-F613-B006-0696-3F78B1CF7335}"/>
          </ac:spMkLst>
        </pc:spChg>
        <pc:spChg chg="add mod">
          <ac:chgData name="Nadia Ravlo (NO)" userId="S::nadia.ravlo@pwc.com::58e7ce19-4638-48c5-a675-b48bc60d470c" providerId="AD" clId="Web-{626DE76D-18BB-E9C7-13F7-36C50323A321}" dt="2026-03-04T11:56:46.559" v="68" actId="1076"/>
          <ac:spMkLst>
            <pc:docMk/>
            <pc:sldMk cId="1998224419" sldId="1041"/>
            <ac:spMk id="19" creationId="{41E7FABB-E76A-104A-78DF-97A5836B8501}"/>
          </ac:spMkLst>
        </pc:spChg>
        <pc:spChg chg="add mod">
          <ac:chgData name="Nadia Ravlo (NO)" userId="S::nadia.ravlo@pwc.com::58e7ce19-4638-48c5-a675-b48bc60d470c" providerId="AD" clId="Web-{626DE76D-18BB-E9C7-13F7-36C50323A321}" dt="2026-03-04T11:56:46.575" v="69" actId="1076"/>
          <ac:spMkLst>
            <pc:docMk/>
            <pc:sldMk cId="1998224419" sldId="1041"/>
            <ac:spMk id="21" creationId="{BB1002F7-F7CD-7AC7-B368-269D8A93A69C}"/>
          </ac:spMkLst>
        </pc:spChg>
      </pc:sldChg>
    </pc:docChg>
  </pc:docChgLst>
  <pc:docChgLst>
    <pc:chgData name="Nadia Ravlo (NO)" userId="S::nadia.ravlo@pwc.com::58e7ce19-4638-48c5-a675-b48bc60d470c" providerId="AD" clId="Web-{7C475111-6EBA-8D3C-95E0-A3754084582C}"/>
    <pc:docChg chg="modSld sldOrd">
      <pc:chgData name="Nadia Ravlo (NO)" userId="S::nadia.ravlo@pwc.com::58e7ce19-4638-48c5-a675-b48bc60d470c" providerId="AD" clId="Web-{7C475111-6EBA-8D3C-95E0-A3754084582C}" dt="2026-03-04T12:01:30.456" v="9" actId="14100"/>
      <pc:docMkLst>
        <pc:docMk/>
      </pc:docMkLst>
      <pc:sldChg chg="modSp ord">
        <pc:chgData name="Nadia Ravlo (NO)" userId="S::nadia.ravlo@pwc.com::58e7ce19-4638-48c5-a675-b48bc60d470c" providerId="AD" clId="Web-{7C475111-6EBA-8D3C-95E0-A3754084582C}" dt="2026-03-04T12:01:30.456" v="9" actId="14100"/>
        <pc:sldMkLst>
          <pc:docMk/>
          <pc:sldMk cId="3127760707" sldId="1014"/>
        </pc:sldMkLst>
        <pc:spChg chg="mod">
          <ac:chgData name="Nadia Ravlo (NO)" userId="S::nadia.ravlo@pwc.com::58e7ce19-4638-48c5-a675-b48bc60d470c" providerId="AD" clId="Web-{7C475111-6EBA-8D3C-95E0-A3754084582C}" dt="2026-03-04T12:01:30.456" v="9" actId="14100"/>
          <ac:spMkLst>
            <pc:docMk/>
            <pc:sldMk cId="3127760707" sldId="1014"/>
            <ac:spMk id="41" creationId="{600CA211-5DE2-96EF-797E-117BD0557E41}"/>
          </ac:spMkLst>
        </pc:spChg>
        <pc:spChg chg="mod">
          <ac:chgData name="Nadia Ravlo (NO)" userId="S::nadia.ravlo@pwc.com::58e7ce19-4638-48c5-a675-b48bc60d470c" providerId="AD" clId="Web-{7C475111-6EBA-8D3C-95E0-A3754084582C}" dt="2026-03-04T12:01:25.159" v="8" actId="20577"/>
          <ac:spMkLst>
            <pc:docMk/>
            <pc:sldMk cId="3127760707" sldId="1014"/>
            <ac:spMk id="43" creationId="{FB61F946-A20F-9E34-FFFE-CC9C0BF0387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D8F2F8B-A588-4B0A-AC9F-2A90FAA1C178}" type="datetimeFigureOut">
              <a:rPr lang="nb-NO" smtClean="0"/>
              <a:pPr/>
              <a:t>18.03.2026</a:t>
            </a:fld>
            <a:endParaRPr lang="nb-NO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EE6631A-5BC4-40CD-A36A-CF8BAA1FFA0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957083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7">
          <a:extLst>
            <a:ext uri="{FF2B5EF4-FFF2-40B4-BE49-F238E27FC236}">
              <a16:creationId xmlns:a16="http://schemas.microsoft.com/office/drawing/2014/main" id="{D71BFB53-C086-3251-F7B8-E3AF4FEE0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g3376fdc34da_0_0:notes">
            <a:extLst>
              <a:ext uri="{FF2B5EF4-FFF2-40B4-BE49-F238E27FC236}">
                <a16:creationId xmlns:a16="http://schemas.microsoft.com/office/drawing/2014/main" id="{8AFAD0AD-80E5-55D7-89DB-B67FD21816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9" name="Google Shape;699;g3376fdc34da_0_0:notes">
            <a:extLst>
              <a:ext uri="{FF2B5EF4-FFF2-40B4-BE49-F238E27FC236}">
                <a16:creationId xmlns:a16="http://schemas.microsoft.com/office/drawing/2014/main" id="{9B7A5BA9-9119-2922-EB04-05D7495D85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29" y="4400632"/>
            <a:ext cx="54867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00" tIns="45750" rIns="91500" bIns="4575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00" name="Google Shape;700;g3376fdc34da_0_0:notes">
            <a:extLst>
              <a:ext uri="{FF2B5EF4-FFF2-40B4-BE49-F238E27FC236}">
                <a16:creationId xmlns:a16="http://schemas.microsoft.com/office/drawing/2014/main" id="{F0CF3B62-2050-1D86-220E-B7321A6E715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780" y="8685375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00" tIns="45750" rIns="91500" bIns="4575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93175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A1613862-69AE-28AB-5DF5-AE4B43E6C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DD2AC5EC-FCAE-2908-8DA1-261F069CBCA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88F5359A-52E9-906C-5389-70881216E99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BFFCB5ED-03F0-0E2A-F69A-061F0246CE7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0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722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6">
          <a:extLst>
            <a:ext uri="{FF2B5EF4-FFF2-40B4-BE49-F238E27FC236}">
              <a16:creationId xmlns:a16="http://schemas.microsoft.com/office/drawing/2014/main" id="{50C37B47-C85A-0911-1235-CCEDF00CA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Google Shape;737;g3376fdc34da_0_1998:notes">
            <a:extLst>
              <a:ext uri="{FF2B5EF4-FFF2-40B4-BE49-F238E27FC236}">
                <a16:creationId xmlns:a16="http://schemas.microsoft.com/office/drawing/2014/main" id="{B937023E-C795-80BA-19DB-B5D7EF6CD53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38" name="Google Shape;738;g3376fdc34da_0_1998:notes">
            <a:extLst>
              <a:ext uri="{FF2B5EF4-FFF2-40B4-BE49-F238E27FC236}">
                <a16:creationId xmlns:a16="http://schemas.microsoft.com/office/drawing/2014/main" id="{E2763A34-F218-1623-1907-9961E240671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39" name="Google Shape;739;g3376fdc34da_0_1998:notes">
            <a:extLst>
              <a:ext uri="{FF2B5EF4-FFF2-40B4-BE49-F238E27FC236}">
                <a16:creationId xmlns:a16="http://schemas.microsoft.com/office/drawing/2014/main" id="{7D9B0CCA-0A26-A791-1D45-29842C62CAC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1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57236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70665901-6F86-07EC-8585-87962852F0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E85B38F9-923F-B11D-06FD-C1C6EA5FC84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C3B1DBF2-AE93-303C-EFE6-A1CC8E65B6A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7EE73394-7E11-D824-2B4A-BD9955232B8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2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80094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1AFF6A95-4E7C-4643-CA27-E390435267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654C9C79-93BC-63A2-A454-0D14C4768FD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5288AD7A-6D14-F5E4-0C84-61350C1FEA7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DA3D0E27-11B7-CE6E-F730-53BD89FB5A4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3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50258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6">
          <a:extLst>
            <a:ext uri="{FF2B5EF4-FFF2-40B4-BE49-F238E27FC236}">
              <a16:creationId xmlns:a16="http://schemas.microsoft.com/office/drawing/2014/main" id="{C645955F-912C-6FBD-BD20-A916CFC885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Google Shape;737;g3376fdc34da_0_1998:notes">
            <a:extLst>
              <a:ext uri="{FF2B5EF4-FFF2-40B4-BE49-F238E27FC236}">
                <a16:creationId xmlns:a16="http://schemas.microsoft.com/office/drawing/2014/main" id="{A3D438CD-E93E-402F-6A7C-4D87062086F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38" name="Google Shape;738;g3376fdc34da_0_1998:notes">
            <a:extLst>
              <a:ext uri="{FF2B5EF4-FFF2-40B4-BE49-F238E27FC236}">
                <a16:creationId xmlns:a16="http://schemas.microsoft.com/office/drawing/2014/main" id="{E3D9A6D5-F54E-4103-1851-C51B6C42EA4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39" name="Google Shape;739;g3376fdc34da_0_1998:notes">
            <a:extLst>
              <a:ext uri="{FF2B5EF4-FFF2-40B4-BE49-F238E27FC236}">
                <a16:creationId xmlns:a16="http://schemas.microsoft.com/office/drawing/2014/main" id="{CF7F0D84-6337-93A1-6E82-63E619D22B4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4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64351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62A1B832-2974-9116-E306-26885E982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D45CF54E-3100-F864-0AA7-5F2561E22F2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86F58EB8-04C5-D628-5FDC-66637818B9D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5E1D2BD1-19CA-3EFC-4E9B-868270611F2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5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94400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535BD24D-E932-5B8C-6039-182C87E8F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3062B985-B8B2-D6DF-34D3-ECB238E69D8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65C26BF0-60DF-321B-11B8-2A380AA9632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C2621707-1CD3-D70D-9DAC-8EED3DF917C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6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075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92644F5F-4139-9D3D-9CAD-DE3C833957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92128D5B-1717-ACA0-69DB-E13C1C2FE87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C9AA0BF8-D349-8484-CA52-782EBB1C991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41C998E8-DBF0-4935-30BE-3127BA5B81A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7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9408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7">
          <a:extLst>
            <a:ext uri="{FF2B5EF4-FFF2-40B4-BE49-F238E27FC236}">
              <a16:creationId xmlns:a16="http://schemas.microsoft.com/office/drawing/2014/main" id="{87456E58-0E9F-1F02-75F8-0383B884C7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g3376fdc34da_0_0:notes">
            <a:extLst>
              <a:ext uri="{FF2B5EF4-FFF2-40B4-BE49-F238E27FC236}">
                <a16:creationId xmlns:a16="http://schemas.microsoft.com/office/drawing/2014/main" id="{A0DEFD25-4646-438A-B201-34799B1B28F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9" name="Google Shape;699;g3376fdc34da_0_0:notes">
            <a:extLst>
              <a:ext uri="{FF2B5EF4-FFF2-40B4-BE49-F238E27FC236}">
                <a16:creationId xmlns:a16="http://schemas.microsoft.com/office/drawing/2014/main" id="{DCC9097D-C899-79E9-B7AE-E7A9061807E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29" y="4400632"/>
            <a:ext cx="54867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00" tIns="45750" rIns="91500" bIns="4575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00" name="Google Shape;700;g3376fdc34da_0_0:notes">
            <a:extLst>
              <a:ext uri="{FF2B5EF4-FFF2-40B4-BE49-F238E27FC236}">
                <a16:creationId xmlns:a16="http://schemas.microsoft.com/office/drawing/2014/main" id="{ECB544F6-9179-24BD-38E3-33A2384A373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780" y="8685375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00" tIns="45750" rIns="91500" bIns="4575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2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76778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9447DF77-2776-8E74-64C3-2D3335173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3BF67BB2-6008-8C06-50A4-8526C5498A2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13878000-89CA-F2CA-E241-7776BBE9130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B996FC01-40F2-D9EF-3F61-7AB259362EE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3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4339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382B71AB-9E5A-E679-F5E1-237B5A3F56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366C38EA-74C0-7959-C27C-3EF0F6423C3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7BB77B0C-908D-79E9-2C7D-BD84D46D3DD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F9E7EAC6-A7E4-CFA0-E8CF-DFC1F0AE59C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4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4325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6CA0E96F-B1D5-6CE4-53CF-4D8601378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C3B6649D-0F9F-E588-43C2-D0E86D2D42A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48C7FEED-AE56-C4E9-7254-261185D14DB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10C3D26B-AB69-EA0D-8B82-72FBF4BD0FB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5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56131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Google Shape;737;g3376fdc34da_0_19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38" name="Google Shape;738;g3376fdc34da_0_199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39" name="Google Shape;739;g3376fdc34da_0_199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6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2A38F1E5-A0E9-A98E-70E2-7D68380F9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4957E663-3948-3CB2-5C35-C08021914EF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09F26FBD-1E1C-F098-F7CD-B8AD0CD1E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3F4305D7-1A27-7E68-9887-92C934F10DC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7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47165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3BA665A5-F7B3-8182-C6B2-EFB0948BA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E2D49A8A-DA47-CF5B-1F84-5D85D4A13BB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171BA1F4-0466-582A-715E-4E7308529C5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A865D936-6E83-E75A-8D3B-968D7012A9F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8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84059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>
          <a:extLst>
            <a:ext uri="{FF2B5EF4-FFF2-40B4-BE49-F238E27FC236}">
              <a16:creationId xmlns:a16="http://schemas.microsoft.com/office/drawing/2014/main" id="{72035B2D-C797-9AEF-794E-2611AFCA29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3376fdc34da_0_802:notes">
            <a:extLst>
              <a:ext uri="{FF2B5EF4-FFF2-40B4-BE49-F238E27FC236}">
                <a16:creationId xmlns:a16="http://schemas.microsoft.com/office/drawing/2014/main" id="{05137DC7-C77D-EAF4-FED6-BBB314D4DBD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g3376fdc34da_0_802:notes">
            <a:extLst>
              <a:ext uri="{FF2B5EF4-FFF2-40B4-BE49-F238E27FC236}">
                <a16:creationId xmlns:a16="http://schemas.microsoft.com/office/drawing/2014/main" id="{F68F85B3-DF28-274E-26F3-61E696ACF44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 dirty="0"/>
          </a:p>
        </p:txBody>
      </p:sp>
      <p:sp>
        <p:nvSpPr>
          <p:cNvPr id="747" name="Google Shape;747;g3376fdc34da_0_802:notes">
            <a:extLst>
              <a:ext uri="{FF2B5EF4-FFF2-40B4-BE49-F238E27FC236}">
                <a16:creationId xmlns:a16="http://schemas.microsoft.com/office/drawing/2014/main" id="{634C9942-1A05-7F8D-3480-80F8E4B8C99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b-NO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9</a:t>
            </a:fld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3705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re tittel">
  <p:cSld name="Bare tittel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048998A-4E7D-008B-9F0E-0530447E9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318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48998A-4E7D-008B-9F0E-0530447E9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Google Shape;39;p24"/>
          <p:cNvSpPr txBox="1"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cxnSp>
        <p:nvCxnSpPr>
          <p:cNvPr id="40" name="Google Shape;40;p24"/>
          <p:cNvCxnSpPr/>
          <p:nvPr/>
        </p:nvCxnSpPr>
        <p:spPr>
          <a:xfrm>
            <a:off x="5207620" y="3946101"/>
            <a:ext cx="1776761" cy="0"/>
          </a:xfrm>
          <a:prstGeom prst="straightConnector1">
            <a:avLst/>
          </a:prstGeom>
          <a:noFill/>
          <a:ln w="127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27965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/innhold">
  <p:cSld name="Tittel/innhold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C5562E1-CFE9-080B-8510-B585BD9843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40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5562E1-CFE9-080B-8510-B585BD984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Google Shape;94;g2c3e256bdf9_2_235"/>
          <p:cNvSpPr txBox="1">
            <a:spLocks noGrp="1"/>
          </p:cNvSpPr>
          <p:nvPr>
            <p:ph type="title"/>
          </p:nvPr>
        </p:nvSpPr>
        <p:spPr>
          <a:xfrm>
            <a:off x="682625" y="857250"/>
            <a:ext cx="6765900" cy="13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360000" bIns="45700" anchor="t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95" name="Google Shape;95;g2c3e256bdf9_2_235"/>
          <p:cNvSpPr txBox="1">
            <a:spLocks noGrp="1"/>
          </p:cNvSpPr>
          <p:nvPr>
            <p:ph type="body" idx="1"/>
          </p:nvPr>
        </p:nvSpPr>
        <p:spPr>
          <a:xfrm>
            <a:off x="682625" y="2326639"/>
            <a:ext cx="6765900" cy="38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6800" rIns="360000" bIns="45700" anchor="t" anchorCtr="0">
            <a:norm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b="0" i="0">
                <a:latin typeface="Arial"/>
                <a:ea typeface="Arial"/>
                <a:cs typeface="Arial"/>
                <a:sym typeface="Arial"/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b="0" i="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96" name="Google Shape;96;g2c3e256bdf9_2_235"/>
          <p:cNvSpPr txBox="1">
            <a:spLocks noGrp="1"/>
          </p:cNvSpPr>
          <p:nvPr>
            <p:ph type="dt" idx="10"/>
          </p:nvPr>
        </p:nvSpPr>
        <p:spPr>
          <a:xfrm>
            <a:off x="682625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97" name="Google Shape;97;g2c3e256bdf9_2_23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nb-NO"/>
              <a:t>Rapport til SG – Presentert av [Navn]</a:t>
            </a:r>
            <a:endParaRPr lang="nb-NO" dirty="0"/>
          </a:p>
        </p:txBody>
      </p:sp>
      <p:sp>
        <p:nvSpPr>
          <p:cNvPr id="98" name="Google Shape;98;g2c3e256bdf9_2_235"/>
          <p:cNvSpPr txBox="1">
            <a:spLocks noGrp="1"/>
          </p:cNvSpPr>
          <p:nvPr>
            <p:ph type="sldNum" idx="12"/>
          </p:nvPr>
        </p:nvSpPr>
        <p:spPr>
          <a:xfrm>
            <a:off x="8766175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9" name="Google Shape;99;g2c3e256bdf9_2_235"/>
          <p:cNvSpPr txBox="1"/>
          <p:nvPr/>
        </p:nvSpPr>
        <p:spPr>
          <a:xfrm>
            <a:off x="-1280160" y="138515"/>
            <a:ext cx="1097400" cy="9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b-NO" sz="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IPS:</a:t>
            </a: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b-NO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ruk innrykk for neste tekstnivå</a:t>
            </a: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lang="nb-NO" sz="800" b="0" i="0" u="none" strike="noStrike" cap="none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b-NO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(når det ikke brukes bullet i punktene fungerer ikke tabulator som innrykk)</a:t>
            </a:r>
            <a:endParaRPr lang="nb-NO" sz="800" b="0" i="0" u="none" strike="noStrike" cap="none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427750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tellysbilde">
  <p:cSld name="1_Tittellysbilde"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A5E4924-25F8-CD2D-C025-A11D49177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55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5E4924-25F8-CD2D-C025-A11D49177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Google Shape;105;p17"/>
          <p:cNvSpPr txBox="1">
            <a:spLocks noGrp="1"/>
          </p:cNvSpPr>
          <p:nvPr>
            <p:ph type="title"/>
          </p:nvPr>
        </p:nvSpPr>
        <p:spPr>
          <a:xfrm>
            <a:off x="876044" y="959006"/>
            <a:ext cx="5569361" cy="2403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4800"/>
              <a:buFont typeface="Arial"/>
              <a:buNone/>
              <a:defRPr sz="4800">
                <a:solidFill>
                  <a:srgbClr val="0404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06" name="Google Shape;106;p17"/>
          <p:cNvSpPr txBox="1">
            <a:spLocks noGrp="1"/>
          </p:cNvSpPr>
          <p:nvPr>
            <p:ph type="body" idx="1"/>
          </p:nvPr>
        </p:nvSpPr>
        <p:spPr>
          <a:xfrm>
            <a:off x="876044" y="3679730"/>
            <a:ext cx="5569361" cy="1055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800"/>
              <a:buNone/>
              <a:defRPr sz="2800" b="0" i="0">
                <a:solidFill>
                  <a:srgbClr val="040439"/>
                </a:solidFill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i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i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i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i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07" name="Google Shape;107;p17"/>
          <p:cNvSpPr txBox="1">
            <a:spLocks noGrp="1"/>
          </p:cNvSpPr>
          <p:nvPr>
            <p:ph type="subTitle" idx="2"/>
          </p:nvPr>
        </p:nvSpPr>
        <p:spPr>
          <a:xfrm>
            <a:off x="876044" y="6041182"/>
            <a:ext cx="5569361" cy="399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0404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 lang="nb-NO" dirty="0"/>
          </a:p>
        </p:txBody>
      </p:sp>
      <p:sp>
        <p:nvSpPr>
          <p:cNvPr id="108" name="Google Shape;108;p17"/>
          <p:cNvSpPr>
            <a:spLocks noGrp="1"/>
          </p:cNvSpPr>
          <p:nvPr>
            <p:ph type="pic" idx="3"/>
          </p:nvPr>
        </p:nvSpPr>
        <p:spPr>
          <a:xfrm>
            <a:off x="6445406" y="267629"/>
            <a:ext cx="5508702" cy="6423103"/>
          </a:xfrm>
          <a:prstGeom prst="rect">
            <a:avLst/>
          </a:prstGeom>
          <a:noFill/>
          <a:ln>
            <a:noFill/>
          </a:ln>
        </p:spPr>
      </p:sp>
      <p:pic>
        <p:nvPicPr>
          <p:cNvPr id="109" name="Google Shape;109;p17" descr="Et bilde som inneholder sitter, mørk, mat&#10;&#10;Automatisk generert beskrivels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814214" y="5788583"/>
            <a:ext cx="2762524" cy="7116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09541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omt">
  <p:cSld name="1_Tomt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F1C7CE4-A9E5-3BFE-56CE-2A390A6997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45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1C7CE4-A9E5-3BFE-56CE-2A390A6997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Google Shape;116;p20"/>
          <p:cNvSpPr>
            <a:spLocks noGrp="1"/>
          </p:cNvSpPr>
          <p:nvPr>
            <p:ph type="pic" idx="2"/>
          </p:nvPr>
        </p:nvSpPr>
        <p:spPr>
          <a:xfrm>
            <a:off x="257453" y="217448"/>
            <a:ext cx="5749339" cy="6423103"/>
          </a:xfrm>
          <a:prstGeom prst="rect">
            <a:avLst/>
          </a:prstGeom>
          <a:noFill/>
          <a:ln>
            <a:noFill/>
          </a:ln>
        </p:spPr>
      </p:sp>
      <p:sp>
        <p:nvSpPr>
          <p:cNvPr id="117" name="Google Shape;117;p20"/>
          <p:cNvSpPr txBox="1">
            <a:spLocks noGrp="1"/>
          </p:cNvSpPr>
          <p:nvPr>
            <p:ph type="title"/>
          </p:nvPr>
        </p:nvSpPr>
        <p:spPr>
          <a:xfrm>
            <a:off x="6648138" y="565848"/>
            <a:ext cx="4705662" cy="963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18" name="Google Shape;118;p20"/>
          <p:cNvSpPr txBox="1">
            <a:spLocks noGrp="1"/>
          </p:cNvSpPr>
          <p:nvPr>
            <p:ph type="body" idx="1"/>
          </p:nvPr>
        </p:nvSpPr>
        <p:spPr>
          <a:xfrm>
            <a:off x="6649200" y="2026347"/>
            <a:ext cx="4704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▪"/>
              <a:defRPr/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▪"/>
              <a:defRPr b="0"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Font typeface="Arial"/>
              <a:buChar char="•"/>
              <a:defRPr b="0"/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Font typeface="Arial"/>
              <a:buChar char="•"/>
              <a:defRPr b="0"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cxnSp>
        <p:nvCxnSpPr>
          <p:cNvPr id="119" name="Google Shape;119;p20"/>
          <p:cNvCxnSpPr/>
          <p:nvPr/>
        </p:nvCxnSpPr>
        <p:spPr>
          <a:xfrm>
            <a:off x="6762439" y="1578880"/>
            <a:ext cx="900000" cy="0"/>
          </a:xfrm>
          <a:prstGeom prst="straightConnector1">
            <a:avLst/>
          </a:prstGeom>
          <a:noFill/>
          <a:ln w="25400" cap="flat" cmpd="sng">
            <a:solidFill>
              <a:srgbClr val="040439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74033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omt">
  <p:cSld name="4_Tomt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B7A8C8D-8F13-06C4-B6A9-00674353C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425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7A8C8D-8F13-06C4-B6A9-00674353CC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" name="Google Shape;124;p22"/>
          <p:cNvSpPr txBox="1">
            <a:spLocks noGrp="1"/>
          </p:cNvSpPr>
          <p:nvPr>
            <p:ph type="body" idx="1"/>
          </p:nvPr>
        </p:nvSpPr>
        <p:spPr>
          <a:xfrm>
            <a:off x="1918728" y="2928243"/>
            <a:ext cx="2469600" cy="2069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25" name="Google Shape;125;p22"/>
          <p:cNvSpPr txBox="1">
            <a:spLocks noGrp="1"/>
          </p:cNvSpPr>
          <p:nvPr>
            <p:ph type="body" idx="2"/>
          </p:nvPr>
        </p:nvSpPr>
        <p:spPr>
          <a:xfrm>
            <a:off x="5200837" y="2928243"/>
            <a:ext cx="2469600" cy="2069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26" name="Google Shape;126;p22"/>
          <p:cNvSpPr txBox="1">
            <a:spLocks noGrp="1"/>
          </p:cNvSpPr>
          <p:nvPr>
            <p:ph type="body" idx="3"/>
          </p:nvPr>
        </p:nvSpPr>
        <p:spPr>
          <a:xfrm>
            <a:off x="8385146" y="2928243"/>
            <a:ext cx="2469600" cy="2069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27" name="Google Shape;127;p22"/>
          <p:cNvSpPr txBox="1">
            <a:spLocks noGrp="1"/>
          </p:cNvSpPr>
          <p:nvPr>
            <p:ph type="ctrTitle"/>
          </p:nvPr>
        </p:nvSpPr>
        <p:spPr>
          <a:xfrm>
            <a:off x="1674362" y="1129059"/>
            <a:ext cx="8843275" cy="1126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3600"/>
              <a:buFont typeface="Arial"/>
              <a:buNone/>
              <a:defRPr sz="3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cxnSp>
        <p:nvCxnSpPr>
          <p:cNvPr id="128" name="Google Shape;128;p22"/>
          <p:cNvCxnSpPr/>
          <p:nvPr/>
        </p:nvCxnSpPr>
        <p:spPr>
          <a:xfrm>
            <a:off x="5588158" y="2531917"/>
            <a:ext cx="900000" cy="0"/>
          </a:xfrm>
          <a:prstGeom prst="straightConnector1">
            <a:avLst/>
          </a:prstGeom>
          <a:noFill/>
          <a:ln w="25400" cap="flat" cmpd="sng">
            <a:solidFill>
              <a:srgbClr val="040439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" name="Google Shape;129;p22"/>
          <p:cNvSpPr/>
          <p:nvPr/>
        </p:nvSpPr>
        <p:spPr>
          <a:xfrm>
            <a:off x="1443801" y="2964859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130;p22"/>
          <p:cNvSpPr/>
          <p:nvPr/>
        </p:nvSpPr>
        <p:spPr>
          <a:xfrm>
            <a:off x="4735014" y="2943286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" name="Google Shape;131;p22"/>
          <p:cNvSpPr/>
          <p:nvPr/>
        </p:nvSpPr>
        <p:spPr>
          <a:xfrm>
            <a:off x="7896232" y="2936359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01837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omt">
  <p:cSld name="5_Tomt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7E437A-1CA4-A781-460C-DD4145F21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9522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7E437A-1CA4-A781-460C-DD4145F21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4" name="Google Shape;134;p25"/>
          <p:cNvSpPr>
            <a:spLocks noGrp="1"/>
          </p:cNvSpPr>
          <p:nvPr>
            <p:ph type="pic" idx="2"/>
          </p:nvPr>
        </p:nvSpPr>
        <p:spPr>
          <a:xfrm>
            <a:off x="8734706" y="3914274"/>
            <a:ext cx="2757488" cy="2219441"/>
          </a:xfrm>
          <a:prstGeom prst="rect">
            <a:avLst/>
          </a:prstGeom>
          <a:noFill/>
          <a:ln>
            <a:noFill/>
          </a:ln>
        </p:spPr>
      </p:sp>
      <p:sp>
        <p:nvSpPr>
          <p:cNvPr id="135" name="Google Shape;135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36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36" name="Google Shape;136;p25"/>
          <p:cNvSpPr>
            <a:spLocks noGrp="1"/>
          </p:cNvSpPr>
          <p:nvPr>
            <p:ph type="pic" idx="3"/>
          </p:nvPr>
        </p:nvSpPr>
        <p:spPr>
          <a:xfrm>
            <a:off x="4355972" y="2085474"/>
            <a:ext cx="4800600" cy="3381018"/>
          </a:xfrm>
          <a:prstGeom prst="rect">
            <a:avLst/>
          </a:prstGeom>
          <a:noFill/>
          <a:ln>
            <a:noFill/>
          </a:ln>
        </p:spPr>
      </p:sp>
      <p:sp>
        <p:nvSpPr>
          <p:cNvPr id="137" name="Google Shape;137;p25"/>
          <p:cNvSpPr txBox="1">
            <a:spLocks noGrp="1"/>
          </p:cNvSpPr>
          <p:nvPr>
            <p:ph type="body" idx="1"/>
          </p:nvPr>
        </p:nvSpPr>
        <p:spPr>
          <a:xfrm>
            <a:off x="8734705" y="6130555"/>
            <a:ext cx="2757488" cy="362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38" name="Google Shape;138;p25"/>
          <p:cNvSpPr txBox="1">
            <a:spLocks noGrp="1"/>
          </p:cNvSpPr>
          <p:nvPr>
            <p:ph type="body" idx="4"/>
          </p:nvPr>
        </p:nvSpPr>
        <p:spPr>
          <a:xfrm>
            <a:off x="5536406" y="5515704"/>
            <a:ext cx="2757488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39" name="Google Shape;139;p25"/>
          <p:cNvSpPr/>
          <p:nvPr/>
        </p:nvSpPr>
        <p:spPr>
          <a:xfrm>
            <a:off x="833066" y="2762775"/>
            <a:ext cx="4011650" cy="3495345"/>
          </a:xfrm>
          <a:prstGeom prst="rect">
            <a:avLst/>
          </a:prstGeom>
          <a:solidFill>
            <a:srgbClr val="20207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40" name="Google Shape;140;p25"/>
          <p:cNvCxnSpPr/>
          <p:nvPr/>
        </p:nvCxnSpPr>
        <p:spPr>
          <a:xfrm>
            <a:off x="884149" y="1437212"/>
            <a:ext cx="900000" cy="0"/>
          </a:xfrm>
          <a:prstGeom prst="straightConnector1">
            <a:avLst/>
          </a:prstGeom>
          <a:noFill/>
          <a:ln w="25400" cap="flat" cmpd="sng">
            <a:solidFill>
              <a:srgbClr val="040439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" name="Google Shape;141;p25"/>
          <p:cNvSpPr txBox="1">
            <a:spLocks noGrp="1"/>
          </p:cNvSpPr>
          <p:nvPr>
            <p:ph type="body" idx="5"/>
          </p:nvPr>
        </p:nvSpPr>
        <p:spPr>
          <a:xfrm>
            <a:off x="1023143" y="3001035"/>
            <a:ext cx="3211973" cy="973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90000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>
                <a:solidFill>
                  <a:srgbClr val="F1EDEB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42" name="Google Shape;142;p25"/>
          <p:cNvSpPr txBox="1">
            <a:spLocks noGrp="1"/>
          </p:cNvSpPr>
          <p:nvPr>
            <p:ph type="body" idx="6"/>
          </p:nvPr>
        </p:nvSpPr>
        <p:spPr>
          <a:xfrm>
            <a:off x="1023143" y="5748546"/>
            <a:ext cx="2757488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solidFill>
                  <a:srgbClr val="F1EDEB"/>
                </a:solidFill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95238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tellysbilde">
  <p:cSld name="4_Tittellysbilde">
    <p:bg>
      <p:bgPr>
        <a:solidFill>
          <a:srgbClr val="FDAD95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8078932-E823-5E6E-7348-D5422FD7EA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5722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078932-E823-5E6E-7348-D5422FD7EA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" name="Google Shape;144;p26"/>
          <p:cNvSpPr/>
          <p:nvPr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rgbClr val="20207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26"/>
          <p:cNvSpPr txBox="1">
            <a:spLocks noGrp="1"/>
          </p:cNvSpPr>
          <p:nvPr>
            <p:ph type="title"/>
          </p:nvPr>
        </p:nvSpPr>
        <p:spPr>
          <a:xfrm>
            <a:off x="1054464" y="1287739"/>
            <a:ext cx="5041536" cy="483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rmAutofit/>
          </a:bodyPr>
          <a:lstStyle>
            <a:lvl1pPr marR="253365" lvl="0" algn="l" rtl="0">
              <a:lnSpc>
                <a:spcPct val="100499"/>
              </a:lnSpc>
              <a:spcBef>
                <a:spcPts val="165"/>
              </a:spcBef>
              <a:spcAft>
                <a:spcPts val="0"/>
              </a:spcAft>
              <a:buClr>
                <a:srgbClr val="F2F2F2"/>
              </a:buClr>
              <a:buSzPts val="2400"/>
              <a:buFont typeface="Arial"/>
              <a:buNone/>
              <a:defRPr sz="2400" b="1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46" name="Google Shape;146;p26"/>
          <p:cNvSpPr>
            <a:spLocks noGrp="1"/>
          </p:cNvSpPr>
          <p:nvPr>
            <p:ph type="pic" idx="2"/>
          </p:nvPr>
        </p:nvSpPr>
        <p:spPr>
          <a:xfrm>
            <a:off x="5687122" y="217448"/>
            <a:ext cx="6225123" cy="6423103"/>
          </a:xfrm>
          <a:prstGeom prst="rect">
            <a:avLst/>
          </a:prstGeom>
          <a:noFill/>
          <a:ln>
            <a:noFill/>
          </a:ln>
        </p:spPr>
      </p:sp>
      <p:sp>
        <p:nvSpPr>
          <p:cNvPr id="147" name="Google Shape;147;p26"/>
          <p:cNvSpPr txBox="1">
            <a:spLocks noGrp="1"/>
          </p:cNvSpPr>
          <p:nvPr>
            <p:ph type="body" idx="1"/>
          </p:nvPr>
        </p:nvSpPr>
        <p:spPr>
          <a:xfrm>
            <a:off x="1520448" y="1975378"/>
            <a:ext cx="4166674" cy="23399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90000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F1EDEB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48" name="Google Shape;148;p26"/>
          <p:cNvSpPr txBox="1">
            <a:spLocks noGrp="1"/>
          </p:cNvSpPr>
          <p:nvPr>
            <p:ph type="body" idx="3"/>
          </p:nvPr>
        </p:nvSpPr>
        <p:spPr>
          <a:xfrm>
            <a:off x="1520448" y="5412305"/>
            <a:ext cx="2757488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solidFill>
                  <a:srgbClr val="F1EDEB"/>
                </a:solidFill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872887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omt">
  <p:cSld name="6_Tomt"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310724E-2975-2E4D-BC3F-6F32B381A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7742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10724E-2975-2E4D-BC3F-6F32B381A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Google Shape;150;p27"/>
          <p:cNvSpPr>
            <a:spLocks noGrp="1"/>
          </p:cNvSpPr>
          <p:nvPr>
            <p:ph type="pic" idx="2"/>
          </p:nvPr>
        </p:nvSpPr>
        <p:spPr>
          <a:xfrm>
            <a:off x="8734706" y="3914274"/>
            <a:ext cx="2757488" cy="2219441"/>
          </a:xfrm>
          <a:prstGeom prst="rect">
            <a:avLst/>
          </a:prstGeom>
          <a:noFill/>
          <a:ln>
            <a:noFill/>
          </a:ln>
        </p:spPr>
      </p:sp>
      <p:sp>
        <p:nvSpPr>
          <p:cNvPr id="151" name="Google Shape;151;p2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36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52" name="Google Shape;152;p27"/>
          <p:cNvSpPr>
            <a:spLocks noGrp="1"/>
          </p:cNvSpPr>
          <p:nvPr>
            <p:ph type="pic" idx="3"/>
          </p:nvPr>
        </p:nvSpPr>
        <p:spPr>
          <a:xfrm>
            <a:off x="4355972" y="2085474"/>
            <a:ext cx="4800600" cy="3381018"/>
          </a:xfrm>
          <a:prstGeom prst="rect">
            <a:avLst/>
          </a:prstGeom>
          <a:noFill/>
          <a:ln>
            <a:noFill/>
          </a:ln>
        </p:spPr>
      </p:sp>
      <p:sp>
        <p:nvSpPr>
          <p:cNvPr id="153" name="Google Shape;153;p27"/>
          <p:cNvSpPr txBox="1">
            <a:spLocks noGrp="1"/>
          </p:cNvSpPr>
          <p:nvPr>
            <p:ph type="body" idx="1"/>
          </p:nvPr>
        </p:nvSpPr>
        <p:spPr>
          <a:xfrm>
            <a:off x="8734705" y="6130555"/>
            <a:ext cx="2757488" cy="362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54" name="Google Shape;154;p27"/>
          <p:cNvSpPr txBox="1">
            <a:spLocks noGrp="1"/>
          </p:cNvSpPr>
          <p:nvPr>
            <p:ph type="body" idx="4"/>
          </p:nvPr>
        </p:nvSpPr>
        <p:spPr>
          <a:xfrm>
            <a:off x="5536406" y="5515704"/>
            <a:ext cx="2757488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55" name="Google Shape;155;p27"/>
          <p:cNvSpPr/>
          <p:nvPr/>
        </p:nvSpPr>
        <p:spPr>
          <a:xfrm>
            <a:off x="833066" y="2762775"/>
            <a:ext cx="4011650" cy="34953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6" name="Google Shape;156;p27"/>
          <p:cNvCxnSpPr/>
          <p:nvPr/>
        </p:nvCxnSpPr>
        <p:spPr>
          <a:xfrm>
            <a:off x="884149" y="1437212"/>
            <a:ext cx="900000" cy="0"/>
          </a:xfrm>
          <a:prstGeom prst="straightConnector1">
            <a:avLst/>
          </a:prstGeom>
          <a:noFill/>
          <a:ln w="25400" cap="flat" cmpd="sng">
            <a:solidFill>
              <a:srgbClr val="040439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" name="Google Shape;157;p27"/>
          <p:cNvSpPr txBox="1">
            <a:spLocks noGrp="1"/>
          </p:cNvSpPr>
          <p:nvPr>
            <p:ph type="body" idx="5"/>
          </p:nvPr>
        </p:nvSpPr>
        <p:spPr>
          <a:xfrm>
            <a:off x="1023143" y="3001035"/>
            <a:ext cx="3211973" cy="973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90000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58" name="Google Shape;158;p27"/>
          <p:cNvSpPr txBox="1">
            <a:spLocks noGrp="1"/>
          </p:cNvSpPr>
          <p:nvPr>
            <p:ph type="body" idx="6"/>
          </p:nvPr>
        </p:nvSpPr>
        <p:spPr>
          <a:xfrm>
            <a:off x="1023143" y="5748546"/>
            <a:ext cx="2757488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solidFill>
                  <a:schemeClr val="dk1"/>
                </a:solidFill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333638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tellysbilde">
  <p:cSld name="8_Tittellysbilde">
    <p:bg>
      <p:bgPr>
        <a:solidFill>
          <a:srgbClr val="FDAD95"/>
        </a:solidFill>
        <a:effectLst/>
      </p:bgPr>
    </p:bg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7A80803-A0D5-5B30-5C3F-832BBF385C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1432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A80803-A0D5-5B30-5C3F-832BBF385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0" name="Google Shape;160;p28"/>
          <p:cNvSpPr/>
          <p:nvPr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Google Shape;161;p28"/>
          <p:cNvSpPr txBox="1">
            <a:spLocks noGrp="1"/>
          </p:cNvSpPr>
          <p:nvPr>
            <p:ph type="title"/>
          </p:nvPr>
        </p:nvSpPr>
        <p:spPr>
          <a:xfrm>
            <a:off x="1054464" y="1287739"/>
            <a:ext cx="5041536" cy="483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rmAutofit/>
          </a:bodyPr>
          <a:lstStyle>
            <a:lvl1pPr marR="253365" lvl="0" algn="l" rtl="0">
              <a:lnSpc>
                <a:spcPct val="100499"/>
              </a:lnSpc>
              <a:spcBef>
                <a:spcPts val="16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62" name="Google Shape;162;p28"/>
          <p:cNvSpPr>
            <a:spLocks noGrp="1"/>
          </p:cNvSpPr>
          <p:nvPr>
            <p:ph type="pic" idx="2"/>
          </p:nvPr>
        </p:nvSpPr>
        <p:spPr>
          <a:xfrm>
            <a:off x="5687122" y="217448"/>
            <a:ext cx="6225123" cy="6423103"/>
          </a:xfrm>
          <a:prstGeom prst="rect">
            <a:avLst/>
          </a:prstGeom>
          <a:noFill/>
          <a:ln>
            <a:noFill/>
          </a:ln>
        </p:spPr>
      </p:sp>
      <p:sp>
        <p:nvSpPr>
          <p:cNvPr id="163" name="Google Shape;163;p28"/>
          <p:cNvSpPr txBox="1">
            <a:spLocks noGrp="1"/>
          </p:cNvSpPr>
          <p:nvPr>
            <p:ph type="body" idx="1"/>
          </p:nvPr>
        </p:nvSpPr>
        <p:spPr>
          <a:xfrm>
            <a:off x="1520448" y="1975378"/>
            <a:ext cx="4166674" cy="23399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90000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64" name="Google Shape;164;p28"/>
          <p:cNvSpPr txBox="1">
            <a:spLocks noGrp="1"/>
          </p:cNvSpPr>
          <p:nvPr>
            <p:ph type="body" idx="3"/>
          </p:nvPr>
        </p:nvSpPr>
        <p:spPr>
          <a:xfrm>
            <a:off x="1520448" y="5412305"/>
            <a:ext cx="2757488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solidFill>
                  <a:schemeClr val="dk1"/>
                </a:solidFill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491481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omt">
  <p:cSld name="7_Tomt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A5B9672-EEC7-CD38-A4A8-9F57639DF4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295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B9672-EEC7-CD38-A4A8-9F57639DF4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6" name="Google Shape;166;p29"/>
          <p:cNvSpPr>
            <a:spLocks noGrp="1"/>
          </p:cNvSpPr>
          <p:nvPr>
            <p:ph type="pic" idx="2"/>
          </p:nvPr>
        </p:nvSpPr>
        <p:spPr>
          <a:xfrm>
            <a:off x="8734706" y="3914274"/>
            <a:ext cx="2757488" cy="2219441"/>
          </a:xfrm>
          <a:prstGeom prst="rect">
            <a:avLst/>
          </a:prstGeom>
          <a:noFill/>
          <a:ln>
            <a:noFill/>
          </a:ln>
        </p:spPr>
      </p:sp>
      <p:sp>
        <p:nvSpPr>
          <p:cNvPr id="167" name="Google Shape;167;p2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36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68" name="Google Shape;168;p29"/>
          <p:cNvSpPr>
            <a:spLocks noGrp="1"/>
          </p:cNvSpPr>
          <p:nvPr>
            <p:ph type="pic" idx="3"/>
          </p:nvPr>
        </p:nvSpPr>
        <p:spPr>
          <a:xfrm>
            <a:off x="4355972" y="2085474"/>
            <a:ext cx="4800600" cy="3381018"/>
          </a:xfrm>
          <a:prstGeom prst="rect">
            <a:avLst/>
          </a:prstGeom>
          <a:noFill/>
          <a:ln>
            <a:noFill/>
          </a:ln>
        </p:spPr>
      </p:sp>
      <p:sp>
        <p:nvSpPr>
          <p:cNvPr id="169" name="Google Shape;169;p29"/>
          <p:cNvSpPr txBox="1">
            <a:spLocks noGrp="1"/>
          </p:cNvSpPr>
          <p:nvPr>
            <p:ph type="body" idx="1"/>
          </p:nvPr>
        </p:nvSpPr>
        <p:spPr>
          <a:xfrm>
            <a:off x="8734705" y="6130555"/>
            <a:ext cx="2757488" cy="362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70" name="Google Shape;170;p29"/>
          <p:cNvSpPr txBox="1">
            <a:spLocks noGrp="1"/>
          </p:cNvSpPr>
          <p:nvPr>
            <p:ph type="body" idx="4"/>
          </p:nvPr>
        </p:nvSpPr>
        <p:spPr>
          <a:xfrm>
            <a:off x="5536406" y="5515704"/>
            <a:ext cx="2757488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71" name="Google Shape;171;p29"/>
          <p:cNvSpPr/>
          <p:nvPr/>
        </p:nvSpPr>
        <p:spPr>
          <a:xfrm>
            <a:off x="833066" y="2762775"/>
            <a:ext cx="4011650" cy="3495345"/>
          </a:xfrm>
          <a:prstGeom prst="rect">
            <a:avLst/>
          </a:prstGeom>
          <a:solidFill>
            <a:srgbClr val="FED8A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72" name="Google Shape;172;p29"/>
          <p:cNvCxnSpPr/>
          <p:nvPr/>
        </p:nvCxnSpPr>
        <p:spPr>
          <a:xfrm>
            <a:off x="884149" y="1437212"/>
            <a:ext cx="900000" cy="0"/>
          </a:xfrm>
          <a:prstGeom prst="straightConnector1">
            <a:avLst/>
          </a:prstGeom>
          <a:noFill/>
          <a:ln w="25400" cap="flat" cmpd="sng">
            <a:solidFill>
              <a:srgbClr val="040439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" name="Google Shape;173;p29"/>
          <p:cNvSpPr txBox="1">
            <a:spLocks noGrp="1"/>
          </p:cNvSpPr>
          <p:nvPr>
            <p:ph type="body" idx="5"/>
          </p:nvPr>
        </p:nvSpPr>
        <p:spPr>
          <a:xfrm>
            <a:off x="1023143" y="3001035"/>
            <a:ext cx="3211973" cy="973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90000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74" name="Google Shape;174;p29"/>
          <p:cNvSpPr txBox="1">
            <a:spLocks noGrp="1"/>
          </p:cNvSpPr>
          <p:nvPr>
            <p:ph type="body" idx="6"/>
          </p:nvPr>
        </p:nvSpPr>
        <p:spPr>
          <a:xfrm>
            <a:off x="1023143" y="5748546"/>
            <a:ext cx="2757488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solidFill>
                  <a:schemeClr val="dk1"/>
                </a:solidFill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043750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tellysbilde">
  <p:cSld name="9_Tittellysbilde">
    <p:bg>
      <p:bgPr>
        <a:solidFill>
          <a:srgbClr val="FDAD95"/>
        </a:solidFill>
        <a:effectLst/>
      </p:bgPr>
    </p:bg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0ECAE31-BD68-696E-0A37-A5BA189D85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514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ECAE31-BD68-696E-0A37-A5BA189D8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6" name="Google Shape;176;p30"/>
          <p:cNvSpPr/>
          <p:nvPr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rgbClr val="FED8A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Google Shape;177;p30"/>
          <p:cNvSpPr txBox="1">
            <a:spLocks noGrp="1"/>
          </p:cNvSpPr>
          <p:nvPr>
            <p:ph type="title"/>
          </p:nvPr>
        </p:nvSpPr>
        <p:spPr>
          <a:xfrm>
            <a:off x="1054464" y="1287739"/>
            <a:ext cx="5041536" cy="483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rmAutofit/>
          </a:bodyPr>
          <a:lstStyle>
            <a:lvl1pPr marR="253365" lvl="0" algn="l" rtl="0">
              <a:lnSpc>
                <a:spcPct val="100499"/>
              </a:lnSpc>
              <a:spcBef>
                <a:spcPts val="16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78" name="Google Shape;178;p30"/>
          <p:cNvSpPr>
            <a:spLocks noGrp="1"/>
          </p:cNvSpPr>
          <p:nvPr>
            <p:ph type="pic" idx="2"/>
          </p:nvPr>
        </p:nvSpPr>
        <p:spPr>
          <a:xfrm>
            <a:off x="5687122" y="217448"/>
            <a:ext cx="6225123" cy="6423103"/>
          </a:xfrm>
          <a:prstGeom prst="rect">
            <a:avLst/>
          </a:prstGeom>
          <a:noFill/>
          <a:ln>
            <a:noFill/>
          </a:ln>
        </p:spPr>
      </p:sp>
      <p:sp>
        <p:nvSpPr>
          <p:cNvPr id="179" name="Google Shape;179;p30"/>
          <p:cNvSpPr txBox="1">
            <a:spLocks noGrp="1"/>
          </p:cNvSpPr>
          <p:nvPr>
            <p:ph type="body" idx="1"/>
          </p:nvPr>
        </p:nvSpPr>
        <p:spPr>
          <a:xfrm>
            <a:off x="1520448" y="1975378"/>
            <a:ext cx="4166674" cy="23399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90000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180" name="Google Shape;180;p30"/>
          <p:cNvSpPr txBox="1">
            <a:spLocks noGrp="1"/>
          </p:cNvSpPr>
          <p:nvPr>
            <p:ph type="body" idx="3"/>
          </p:nvPr>
        </p:nvSpPr>
        <p:spPr>
          <a:xfrm>
            <a:off x="1520448" y="5412305"/>
            <a:ext cx="2757488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 b="1" i="0">
                <a:solidFill>
                  <a:schemeClr val="dk1"/>
                </a:solidFill>
                <a:latin typeface="Century"/>
                <a:ea typeface="Century"/>
                <a:cs typeface="Century"/>
                <a:sym typeface="Century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 b="1" i="1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01246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aption &amp; Image">
  <p:cSld name="3_Caption &amp; Image">
    <p:bg>
      <p:bgPr>
        <a:solidFill>
          <a:schemeClr val="lt1"/>
        </a:solid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238B6FD-90AF-79C7-E603-50378C9848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535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38B6FD-90AF-79C7-E603-50378C9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g2c4a99881f7_0_51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588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g2c4a99881f7_0_518"/>
          <p:cNvSpPr txBox="1">
            <a:spLocks noGrp="1"/>
          </p:cNvSpPr>
          <p:nvPr>
            <p:ph type="title"/>
          </p:nvPr>
        </p:nvSpPr>
        <p:spPr>
          <a:xfrm>
            <a:off x="1758400" y="1844367"/>
            <a:ext cx="8675100" cy="272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>
                <a:solidFill>
                  <a:schemeClr val="lt1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9pPr>
          </a:lstStyle>
          <a:p>
            <a:endParaRPr lang="nb-NO" dirty="0"/>
          </a:p>
        </p:txBody>
      </p:sp>
      <p:sp>
        <p:nvSpPr>
          <p:cNvPr id="52" name="Google Shape;52;g2c4a99881f7_0_518"/>
          <p:cNvSpPr/>
          <p:nvPr/>
        </p:nvSpPr>
        <p:spPr>
          <a:xfrm>
            <a:off x="0" y="0"/>
            <a:ext cx="12192000" cy="60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3" name="Google Shape;53;g2c4a99881f7_0_518" descr="Livework Logo_Livework Logo White.png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426699" y="6036598"/>
            <a:ext cx="1765304" cy="821400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Google Shape;54;g2c4a99881f7_0_518"/>
          <p:cNvSpPr txBox="1">
            <a:spLocks noGrp="1"/>
          </p:cNvSpPr>
          <p:nvPr>
            <p:ph type="subTitle" idx="1"/>
          </p:nvPr>
        </p:nvSpPr>
        <p:spPr>
          <a:xfrm>
            <a:off x="4036800" y="4819833"/>
            <a:ext cx="4118400" cy="5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None/>
              <a:defRPr sz="1900" i="0" u="none" strike="noStrike" cap="none">
                <a:solidFill>
                  <a:srgbClr val="FFFFFF"/>
                </a:solidFill>
              </a:defRPr>
            </a:lvl1pPr>
            <a:lvl2pPr marR="0"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None/>
              <a:defRPr sz="1900" i="0" u="none" strike="noStrike" cap="none">
                <a:solidFill>
                  <a:srgbClr val="FFFFFF"/>
                </a:solidFill>
              </a:defRPr>
            </a:lvl2pPr>
            <a:lvl3pPr marR="0"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None/>
              <a:defRPr sz="1900" i="0" u="none" strike="noStrike" cap="none">
                <a:solidFill>
                  <a:srgbClr val="FFFFFF"/>
                </a:solidFill>
              </a:defRPr>
            </a:lvl3pPr>
            <a:lvl4pPr marR="0"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None/>
              <a:defRPr sz="1900" i="0" u="none" strike="noStrike" cap="none">
                <a:solidFill>
                  <a:srgbClr val="FFFFFF"/>
                </a:solidFill>
              </a:defRPr>
            </a:lvl4pPr>
            <a:lvl5pPr marR="0"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None/>
              <a:defRPr sz="1900" i="0" u="none" strike="noStrike" cap="none">
                <a:solidFill>
                  <a:srgbClr val="FFFFFF"/>
                </a:solidFill>
              </a:defRPr>
            </a:lvl5pPr>
            <a:lvl6pPr marR="0"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None/>
              <a:defRPr sz="1900" i="0" u="none" strike="noStrike" cap="none">
                <a:solidFill>
                  <a:srgbClr val="FFFFFF"/>
                </a:solidFill>
              </a:defRPr>
            </a:lvl6pPr>
            <a:lvl7pPr marR="0"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None/>
              <a:defRPr sz="1900" i="0" u="none" strike="noStrike" cap="none">
                <a:solidFill>
                  <a:srgbClr val="FFFFFF"/>
                </a:solidFill>
              </a:defRPr>
            </a:lvl7pPr>
            <a:lvl8pPr marR="0"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None/>
              <a:defRPr sz="1900" i="0" u="none" strike="noStrike" cap="none">
                <a:solidFill>
                  <a:srgbClr val="FFFFFF"/>
                </a:solidFill>
              </a:defRPr>
            </a:lvl8pPr>
            <a:lvl9pPr marR="0"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None/>
              <a:defRPr sz="1900" i="0" u="none" strike="noStrike" cap="none">
                <a:solidFill>
                  <a:srgbClr val="FFFFFF"/>
                </a:solidFill>
              </a:defRPr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331535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omt">
  <p:cSld name="11_Tomt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53DD375-5B13-F19B-07F4-F6A8B1073D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022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3DD375-5B13-F19B-07F4-F6A8B1073D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2" name="Google Shape;182;p31"/>
          <p:cNvSpPr txBox="1">
            <a:spLocks noGrp="1"/>
          </p:cNvSpPr>
          <p:nvPr>
            <p:ph type="title"/>
          </p:nvPr>
        </p:nvSpPr>
        <p:spPr>
          <a:xfrm>
            <a:off x="871806" y="565848"/>
            <a:ext cx="4705662" cy="963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3600"/>
              <a:buFont typeface="Arial"/>
              <a:buNone/>
              <a:defRPr sz="3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83" name="Google Shape;183;p31"/>
          <p:cNvSpPr txBox="1">
            <a:spLocks noGrp="1"/>
          </p:cNvSpPr>
          <p:nvPr>
            <p:ph type="body" idx="1"/>
          </p:nvPr>
        </p:nvSpPr>
        <p:spPr>
          <a:xfrm>
            <a:off x="872868" y="2026347"/>
            <a:ext cx="4704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▪"/>
              <a:defRPr/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2000"/>
              <a:buFont typeface="Noto Sans Symbols"/>
              <a:buChar char="▪"/>
              <a:defRPr b="1"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1800"/>
              <a:buFont typeface="Noto Sans Symbols"/>
              <a:buChar char="▪"/>
              <a:defRPr/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1600"/>
              <a:buFont typeface="Noto Sans Symbols"/>
              <a:buChar char="▪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cxnSp>
        <p:nvCxnSpPr>
          <p:cNvPr id="184" name="Google Shape;184;p31"/>
          <p:cNvCxnSpPr/>
          <p:nvPr/>
        </p:nvCxnSpPr>
        <p:spPr>
          <a:xfrm>
            <a:off x="973228" y="1578880"/>
            <a:ext cx="900000" cy="0"/>
          </a:xfrm>
          <a:prstGeom prst="straightConnector1">
            <a:avLst/>
          </a:prstGeom>
          <a:noFill/>
          <a:ln w="25400" cap="flat" cmpd="sng">
            <a:solidFill>
              <a:srgbClr val="040439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85" name="Google Shape;185;p3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308926" y="171483"/>
            <a:ext cx="3663873" cy="65150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8002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omt">
  <p:cSld name="12_Tomt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96C06C7-C133-283A-E085-A28DC15A26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414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6C06C7-C133-283A-E085-A28DC15A2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7" name="Google Shape;187;p32"/>
          <p:cNvSpPr txBox="1">
            <a:spLocks noGrp="1"/>
          </p:cNvSpPr>
          <p:nvPr>
            <p:ph type="title"/>
          </p:nvPr>
        </p:nvSpPr>
        <p:spPr>
          <a:xfrm>
            <a:off x="871806" y="565848"/>
            <a:ext cx="4705662" cy="963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3600"/>
              <a:buFont typeface="Arial"/>
              <a:buNone/>
              <a:defRPr sz="3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88" name="Google Shape;188;p32"/>
          <p:cNvSpPr txBox="1">
            <a:spLocks noGrp="1"/>
          </p:cNvSpPr>
          <p:nvPr>
            <p:ph type="body" idx="1"/>
          </p:nvPr>
        </p:nvSpPr>
        <p:spPr>
          <a:xfrm>
            <a:off x="872868" y="2026347"/>
            <a:ext cx="4704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▪"/>
              <a:defRPr/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2000"/>
              <a:buFont typeface="Noto Sans Symbols"/>
              <a:buChar char="▪"/>
              <a:defRPr b="1"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1800"/>
              <a:buFont typeface="Noto Sans Symbols"/>
              <a:buChar char="▪"/>
              <a:defRPr/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1600"/>
              <a:buFont typeface="Noto Sans Symbols"/>
              <a:buChar char="▪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cxnSp>
        <p:nvCxnSpPr>
          <p:cNvPr id="189" name="Google Shape;189;p32"/>
          <p:cNvCxnSpPr/>
          <p:nvPr/>
        </p:nvCxnSpPr>
        <p:spPr>
          <a:xfrm>
            <a:off x="973228" y="1578880"/>
            <a:ext cx="900000" cy="0"/>
          </a:xfrm>
          <a:prstGeom prst="straightConnector1">
            <a:avLst/>
          </a:prstGeom>
          <a:noFill/>
          <a:ln w="25400" cap="flat" cmpd="sng">
            <a:solidFill>
              <a:srgbClr val="040439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90" name="Google Shape;190;p3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flipH="1">
            <a:off x="4670159" y="1043182"/>
            <a:ext cx="7258370" cy="61557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8551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vice Mock up B">
  <p:cSld name="Device Mock up B"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9101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C - THIRD PAGE">
  <p:cSld name="EC - THIRD PAGE">
    <p:bg>
      <p:bgPr>
        <a:solidFill>
          <a:schemeClr val="lt1"/>
        </a:solidFill>
        <a:effectLst/>
      </p:bgPr>
    </p:bg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5E6BD8A-7213-957D-54AC-AFDE2EF427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45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E6BD8A-7213-957D-54AC-AFDE2EF42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Google Shape;196;g2c4a99881f7_0_3622"/>
          <p:cNvSpPr/>
          <p:nvPr/>
        </p:nvSpPr>
        <p:spPr>
          <a:xfrm>
            <a:off x="4258225" y="0"/>
            <a:ext cx="7934100" cy="6858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g2c4a99881f7_0_3622"/>
          <p:cNvSpPr txBox="1">
            <a:spLocks noGrp="1"/>
          </p:cNvSpPr>
          <p:nvPr>
            <p:ph type="title"/>
          </p:nvPr>
        </p:nvSpPr>
        <p:spPr>
          <a:xfrm>
            <a:off x="442925" y="428625"/>
            <a:ext cx="11306100" cy="67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Georgia"/>
              <a:buNone/>
              <a:defRPr sz="1600" b="0" i="0" u="none" strike="noStrike" cap="none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 lang="nb-NO" dirty="0"/>
          </a:p>
        </p:txBody>
      </p:sp>
      <p:sp>
        <p:nvSpPr>
          <p:cNvPr id="198" name="Google Shape;198;g2c4a99881f7_0_3622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99" name="Google Shape;199;g2c4a99881f7_0_3622"/>
          <p:cNvSpPr txBox="1"/>
          <p:nvPr/>
        </p:nvSpPr>
        <p:spPr>
          <a:xfrm>
            <a:off x="442913" y="6492240"/>
            <a:ext cx="54741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lang="nb-NO" sz="700" b="0" i="0" u="none" strike="noStrike" cap="none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Google Shape;200;g2c4a99881f7_0_3622"/>
          <p:cNvSpPr txBox="1">
            <a:spLocks noGrp="1"/>
          </p:cNvSpPr>
          <p:nvPr>
            <p:ph type="title" idx="2"/>
          </p:nvPr>
        </p:nvSpPr>
        <p:spPr>
          <a:xfrm>
            <a:off x="442925" y="1937175"/>
            <a:ext cx="3363300" cy="8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Helvetica Neue"/>
              <a:buNone/>
              <a:defRPr sz="3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300"/>
              <a:buFont typeface="Helvetica Neue"/>
              <a:buNone/>
              <a:defRPr sz="4300" b="1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300"/>
              <a:buFont typeface="Helvetica Neue"/>
              <a:buNone/>
              <a:defRPr sz="4300" b="1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300"/>
              <a:buFont typeface="Helvetica Neue"/>
              <a:buNone/>
              <a:defRPr sz="4300" b="1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300"/>
              <a:buFont typeface="Helvetica Neue"/>
              <a:buNone/>
              <a:defRPr sz="4300" b="1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300"/>
              <a:buFont typeface="Helvetica Neue"/>
              <a:buNone/>
              <a:defRPr sz="4300" b="1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300"/>
              <a:buFont typeface="Helvetica Neue"/>
              <a:buNone/>
              <a:defRPr sz="4300" b="1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300"/>
              <a:buFont typeface="Helvetica Neue"/>
              <a:buNone/>
              <a:defRPr sz="4300" b="1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300"/>
              <a:buFont typeface="Helvetica Neue"/>
              <a:buNone/>
              <a:defRPr sz="4300" b="1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 lang="nb-NO" dirty="0"/>
          </a:p>
        </p:txBody>
      </p:sp>
      <p:sp>
        <p:nvSpPr>
          <p:cNvPr id="201" name="Google Shape;201;g2c4a99881f7_0_3622"/>
          <p:cNvSpPr txBox="1">
            <a:spLocks noGrp="1"/>
          </p:cNvSpPr>
          <p:nvPr>
            <p:ph type="title" idx="3"/>
          </p:nvPr>
        </p:nvSpPr>
        <p:spPr>
          <a:xfrm>
            <a:off x="442925" y="3032725"/>
            <a:ext cx="3363300" cy="295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Helvetica Neue"/>
              <a:buNone/>
              <a:defRPr sz="110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l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15000"/>
              </a:lnSpc>
              <a:spcBef>
                <a:spcPts val="1100"/>
              </a:spcBef>
              <a:spcAft>
                <a:spcPts val="1100"/>
              </a:spcAft>
              <a:buSzPts val="1600"/>
              <a:buNone/>
              <a:defRPr sz="1600"/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235633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pittel 3 - 2 kolonner">
  <p:cSld name="Kapittel 3 - 2 kolonner"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8E959BF-CAC2-F40C-F3D4-C6DD21AEA4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90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E959BF-CAC2-F40C-F3D4-C6DD21AEA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3" name="Google Shape;203;g2c85839ec1b_1_672"/>
          <p:cNvSpPr/>
          <p:nvPr/>
        </p:nvSpPr>
        <p:spPr>
          <a:xfrm>
            <a:off x="0" y="0"/>
            <a:ext cx="11778900" cy="413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4" name="Google Shape;204;g2c85839ec1b_1_672"/>
          <p:cNvSpPr/>
          <p:nvPr/>
        </p:nvSpPr>
        <p:spPr>
          <a:xfrm>
            <a:off x="-4233" y="122"/>
            <a:ext cx="413700" cy="41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b-NO"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nb-NO" sz="16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5" name="Google Shape;205;g2c85839ec1b_1_672"/>
          <p:cNvSpPr/>
          <p:nvPr/>
        </p:nvSpPr>
        <p:spPr>
          <a:xfrm>
            <a:off x="11360400" y="113"/>
            <a:ext cx="413700" cy="41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nb-NO" sz="9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lang="nb-NO" sz="9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6" name="Google Shape;206;g2c85839ec1b_1_672"/>
          <p:cNvSpPr txBox="1">
            <a:spLocks noGrp="1"/>
          </p:cNvSpPr>
          <p:nvPr>
            <p:ph type="body" idx="1"/>
          </p:nvPr>
        </p:nvSpPr>
        <p:spPr>
          <a:xfrm>
            <a:off x="409366" y="1877944"/>
            <a:ext cx="5614500" cy="456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▪"/>
              <a:defRPr/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207" name="Google Shape;207;g2c85839ec1b_1_672"/>
          <p:cNvSpPr txBox="1">
            <a:spLocks noGrp="1"/>
          </p:cNvSpPr>
          <p:nvPr>
            <p:ph type="title"/>
          </p:nvPr>
        </p:nvSpPr>
        <p:spPr>
          <a:xfrm>
            <a:off x="409366" y="827427"/>
            <a:ext cx="11369100" cy="72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6AC00"/>
              </a:buClr>
              <a:buSzPts val="3600"/>
              <a:buFont typeface="Georgia"/>
              <a:buNone/>
              <a:defRPr>
                <a:solidFill>
                  <a:srgbClr val="E6AC00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AC00"/>
              </a:buClr>
              <a:buSzPts val="1400"/>
              <a:buFont typeface="Georgia"/>
              <a:buNone/>
              <a:defRPr>
                <a:solidFill>
                  <a:srgbClr val="E6AC00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AC00"/>
              </a:buClr>
              <a:buSzPts val="1400"/>
              <a:buFont typeface="Georgia"/>
              <a:buNone/>
              <a:defRPr>
                <a:solidFill>
                  <a:srgbClr val="E6AC00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AC00"/>
              </a:buClr>
              <a:buSzPts val="1400"/>
              <a:buFont typeface="Georgia"/>
              <a:buNone/>
              <a:defRPr>
                <a:solidFill>
                  <a:srgbClr val="E6AC00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AC00"/>
              </a:buClr>
              <a:buSzPts val="1400"/>
              <a:buFont typeface="Georgia"/>
              <a:buNone/>
              <a:defRPr>
                <a:solidFill>
                  <a:srgbClr val="E6AC00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AC00"/>
              </a:buClr>
              <a:buSzPts val="1400"/>
              <a:buFont typeface="Georgia"/>
              <a:buNone/>
              <a:defRPr>
                <a:solidFill>
                  <a:srgbClr val="E6AC00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AC00"/>
              </a:buClr>
              <a:buSzPts val="1400"/>
              <a:buFont typeface="Georgia"/>
              <a:buNone/>
              <a:defRPr>
                <a:solidFill>
                  <a:srgbClr val="E6AC00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AC00"/>
              </a:buClr>
              <a:buSzPts val="1400"/>
              <a:buFont typeface="Georgia"/>
              <a:buNone/>
              <a:defRPr>
                <a:solidFill>
                  <a:srgbClr val="E6AC00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AC00"/>
              </a:buClr>
              <a:buSzPts val="1400"/>
              <a:buFont typeface="Georgia"/>
              <a:buNone/>
              <a:defRPr>
                <a:solidFill>
                  <a:srgbClr val="E6AC00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 lang="nb-NO" dirty="0"/>
          </a:p>
        </p:txBody>
      </p:sp>
      <p:sp>
        <p:nvSpPr>
          <p:cNvPr id="208" name="Google Shape;208;g2c85839ec1b_1_672"/>
          <p:cNvSpPr txBox="1">
            <a:spLocks noGrp="1"/>
          </p:cNvSpPr>
          <p:nvPr>
            <p:ph type="body" idx="2"/>
          </p:nvPr>
        </p:nvSpPr>
        <p:spPr>
          <a:xfrm>
            <a:off x="6157199" y="1877944"/>
            <a:ext cx="5614500" cy="456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▪"/>
              <a:defRPr/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 lang="nb-NO" dirty="0"/>
          </a:p>
        </p:txBody>
      </p:sp>
      <p:cxnSp>
        <p:nvCxnSpPr>
          <p:cNvPr id="209" name="Google Shape;209;g2c85839ec1b_1_672"/>
          <p:cNvCxnSpPr/>
          <p:nvPr/>
        </p:nvCxnSpPr>
        <p:spPr>
          <a:xfrm>
            <a:off x="409367" y="122"/>
            <a:ext cx="0" cy="4137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0680589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tel og innhold 1">
  <p:cSld name="1_Tittel og innhold 1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D00BD4B-DC6E-465F-20A9-241194A7A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312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00BD4B-DC6E-465F-20A9-241194A7A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g2c256057196_0_37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▪"/>
              <a:defRPr b="0"/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 b="0"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b="0"/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 b="0"/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 b="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25" name="Google Shape;25;g2c256057196_0_37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47633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29C0BD-1F04-9036-6D3A-6D897E82D8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880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29C0BD-1F04-9036-6D3A-6D897E82D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504190-0932-C527-D6F5-4B90ACCDF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nb-NO"/>
              <a:t>Click to edit Master title style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DD73C8-F7AC-1EA9-F3F3-9BA69EA872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704AD-470A-DA50-1FBD-9C11C541C39B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7DDC9E-5E4D-7123-8258-71CD6B7CA40C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Rapport til SG – Presentert av [Navn]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9E8D32-AA9F-42AC-9F69-ADE3ADE7A54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237508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3F1F1D2-1E22-1919-0F72-C1FE186525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269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F1F1D2-1E22-1919-0F72-C1FE18652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" name="Google Shape;204;p4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4500"/>
              <a:buFont typeface="Arial"/>
              <a:buNone/>
              <a:defRPr sz="6000"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205" name="Google Shape;205;p42"/>
          <p:cNvSpPr txBox="1"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lvl="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SzPts val="1800"/>
              <a:buNone/>
              <a:defRPr sz="2400"/>
            </a:lvl1pPr>
            <a:lvl2pPr lvl="1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 lang="nb-NO" dirty="0"/>
          </a:p>
        </p:txBody>
      </p:sp>
      <p:sp>
        <p:nvSpPr>
          <p:cNvPr id="206" name="Google Shape;206;p4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207" name="Google Shape;207;p4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r>
              <a:rPr lang="nb-NO"/>
              <a:t>Rapport til SG – Presentert av [Navn]</a:t>
            </a:r>
            <a:endParaRPr lang="nb-NO" dirty="0"/>
          </a:p>
        </p:txBody>
      </p:sp>
      <p:sp>
        <p:nvSpPr>
          <p:cNvPr id="208" name="Google Shape;208;p4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97432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Image Caption Bottom L">
  <p:cSld name="2_Image Caption Bottom L">
    <p:bg>
      <p:bgPr>
        <a:solidFill>
          <a:schemeClr val="lt1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875005E-DA83-8B6B-398F-2B830F625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4757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5005E-DA83-8B6B-398F-2B830F625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Google Shape;56;g2c85839ec1b_0_755"/>
          <p:cNvPicPr preferRelativeResize="0"/>
          <p:nvPr/>
        </p:nvPicPr>
        <p:blipFill rotWithShape="1">
          <a:blip r:embed="rId5">
            <a:alphaModFix amt="69000"/>
          </a:blip>
          <a:srcRect/>
          <a:stretch/>
        </p:blipFill>
        <p:spPr>
          <a:xfrm>
            <a:off x="0" y="3709900"/>
            <a:ext cx="12192000" cy="3148101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g2c85839ec1b_0_755"/>
          <p:cNvSpPr txBox="1">
            <a:spLocks noGrp="1"/>
          </p:cNvSpPr>
          <p:nvPr>
            <p:ph type="title"/>
          </p:nvPr>
        </p:nvSpPr>
        <p:spPr>
          <a:xfrm>
            <a:off x="560301" y="4307500"/>
            <a:ext cx="3540900" cy="20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lt1"/>
                </a:solidFill>
              </a:defRPr>
            </a:lvl9pPr>
          </a:lstStyle>
          <a:p>
            <a:endParaRPr lang="nb-NO" dirty="0"/>
          </a:p>
        </p:txBody>
      </p:sp>
      <p:sp>
        <p:nvSpPr>
          <p:cNvPr id="58" name="Google Shape;58;g2c85839ec1b_0_755"/>
          <p:cNvSpPr/>
          <p:nvPr/>
        </p:nvSpPr>
        <p:spPr>
          <a:xfrm>
            <a:off x="0" y="0"/>
            <a:ext cx="12192000" cy="60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9" name="Google Shape;59;g2c85839ec1b_0_755" descr="Livework Logo_Livework Logo White.png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426699" y="6036598"/>
            <a:ext cx="1765304" cy="821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942422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/bilde/høyre">
  <p:cSld name="Tekst/bilde/høyre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1F1C64-BF4D-F583-8039-7F262C450A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982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1F1C64-BF4D-F583-8039-7F262C450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Google Shape;62;g2c3e256bdf9_2_720"/>
          <p:cNvSpPr txBox="1">
            <a:spLocks noGrp="1"/>
          </p:cNvSpPr>
          <p:nvPr>
            <p:ph type="body" idx="1"/>
          </p:nvPr>
        </p:nvSpPr>
        <p:spPr>
          <a:xfrm>
            <a:off x="682625" y="3429000"/>
            <a:ext cx="6765900" cy="25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6800" rIns="360000" bIns="45700" anchor="t" anchorCtr="0">
            <a:normAutofit/>
          </a:bodyPr>
          <a:lstStyle>
            <a:lvl1pPr marL="4572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0"/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b="0" i="0">
                <a:latin typeface="Arial"/>
                <a:ea typeface="Arial"/>
                <a:cs typeface="Arial"/>
                <a:sym typeface="Arial"/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b="0" i="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nb-NO" dirty="0"/>
          </a:p>
        </p:txBody>
      </p:sp>
      <p:sp>
        <p:nvSpPr>
          <p:cNvPr id="63" name="Google Shape;63;g2c3e256bdf9_2_720"/>
          <p:cNvSpPr txBox="1">
            <a:spLocks noGrp="1"/>
          </p:cNvSpPr>
          <p:nvPr>
            <p:ph type="dt" idx="10"/>
          </p:nvPr>
        </p:nvSpPr>
        <p:spPr>
          <a:xfrm>
            <a:off x="682625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64" name="Google Shape;64;g2c3e256bdf9_2_7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nb-NO"/>
              <a:t>Rapport til SG – Presentert av [Navn]</a:t>
            </a:r>
            <a:endParaRPr lang="nb-NO" dirty="0"/>
          </a:p>
        </p:txBody>
      </p:sp>
      <p:sp>
        <p:nvSpPr>
          <p:cNvPr id="65" name="Google Shape;65;g2c3e256bdf9_2_720"/>
          <p:cNvSpPr txBox="1">
            <a:spLocks noGrp="1"/>
          </p:cNvSpPr>
          <p:nvPr>
            <p:ph type="sldNum" idx="12"/>
          </p:nvPr>
        </p:nvSpPr>
        <p:spPr>
          <a:xfrm>
            <a:off x="8766175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6" name="Google Shape;66;g2c3e256bdf9_2_720"/>
          <p:cNvSpPr>
            <a:spLocks noGrp="1"/>
          </p:cNvSpPr>
          <p:nvPr>
            <p:ph type="pic" idx="2"/>
          </p:nvPr>
        </p:nvSpPr>
        <p:spPr>
          <a:xfrm>
            <a:off x="7448550" y="1"/>
            <a:ext cx="4743600" cy="68580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7" name="Google Shape;67;g2c3e256bdf9_2_720"/>
          <p:cNvGrpSpPr/>
          <p:nvPr/>
        </p:nvGrpSpPr>
        <p:grpSpPr>
          <a:xfrm>
            <a:off x="14388167" y="-1201271"/>
            <a:ext cx="1864800" cy="9248400"/>
            <a:chOff x="15070792" y="-1201271"/>
            <a:chExt cx="1864800" cy="9248400"/>
          </a:xfrm>
        </p:grpSpPr>
        <p:cxnSp>
          <p:nvCxnSpPr>
            <p:cNvPr id="68" name="Google Shape;68;g2c3e256bdf9_2_720"/>
            <p:cNvCxnSpPr/>
            <p:nvPr/>
          </p:nvCxnSpPr>
          <p:spPr>
            <a:xfrm>
              <a:off x="16935450" y="-1201271"/>
              <a:ext cx="0" cy="9248400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69" name="Google Shape;69;g2c3e256bdf9_2_720"/>
            <p:cNvSpPr txBox="1"/>
            <p:nvPr/>
          </p:nvSpPr>
          <p:spPr>
            <a:xfrm>
              <a:off x="15070792" y="-1201271"/>
              <a:ext cx="1864800" cy="554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nb-NO" sz="1800" b="0" i="0" u="none" strike="noStrike" cap="none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Hjelpelinje for bildebeskjæring</a:t>
              </a:r>
              <a:endParaRPr lang="nb-NO"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0" name="Google Shape;70;g2c3e256bdf9_2_720"/>
          <p:cNvSpPr txBox="1"/>
          <p:nvPr/>
        </p:nvSpPr>
        <p:spPr>
          <a:xfrm>
            <a:off x="6939617" y="-1201271"/>
            <a:ext cx="4569900" cy="2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b-NO"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Scroll til hjelpelinje for bildebeskjæring –&gt;</a:t>
            </a: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g2c3e256bdf9_2_720"/>
          <p:cNvSpPr txBox="1"/>
          <p:nvPr/>
        </p:nvSpPr>
        <p:spPr>
          <a:xfrm>
            <a:off x="-1280160" y="138515"/>
            <a:ext cx="1097400" cy="9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b-NO" sz="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IPS:</a:t>
            </a: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b-NO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ruk innrykk for neste tekstnivå</a:t>
            </a: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lang="nb-NO" sz="800" b="0" i="0" u="none" strike="noStrike" cap="none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b-NO" sz="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(når det ikke brukes bullet i punktene fungerer ikke tabulator som innrykk)</a:t>
            </a:r>
            <a:endParaRPr lang="nb-NO" sz="800" b="0" i="0" u="none" strike="noStrike" cap="none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0863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omt">
  <p:cSld name="9_Tom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C9470CA-679D-E5CC-18D9-91F3070574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37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9470CA-679D-E5CC-18D9-91F3070574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Google Shape;73;p16"/>
          <p:cNvSpPr/>
          <p:nvPr/>
        </p:nvSpPr>
        <p:spPr>
          <a:xfrm>
            <a:off x="245327" y="217448"/>
            <a:ext cx="11745951" cy="5363613"/>
          </a:xfrm>
          <a:prstGeom prst="rect">
            <a:avLst/>
          </a:prstGeom>
          <a:solidFill>
            <a:srgbClr val="33334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rgbClr val="3CB2A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16"/>
          <p:cNvSpPr txBox="1">
            <a:spLocks noGrp="1"/>
          </p:cNvSpPr>
          <p:nvPr>
            <p:ph type="subTitle" idx="1"/>
          </p:nvPr>
        </p:nvSpPr>
        <p:spPr>
          <a:xfrm>
            <a:off x="772631" y="5994193"/>
            <a:ext cx="5835805" cy="368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500"/>
              <a:buNone/>
              <a:defRPr sz="2500">
                <a:solidFill>
                  <a:srgbClr val="33334F"/>
                </a:solidFill>
                <a:latin typeface="Century"/>
                <a:ea typeface="Century"/>
                <a:cs typeface="Century"/>
                <a:sym typeface="Century"/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 lang="nb-NO" dirty="0"/>
          </a:p>
        </p:txBody>
      </p:sp>
      <p:cxnSp>
        <p:nvCxnSpPr>
          <p:cNvPr id="75" name="Google Shape;75;p16"/>
          <p:cNvCxnSpPr/>
          <p:nvPr/>
        </p:nvCxnSpPr>
        <p:spPr>
          <a:xfrm>
            <a:off x="772631" y="6383247"/>
            <a:ext cx="1857872" cy="0"/>
          </a:xfrm>
          <a:prstGeom prst="straightConnector1">
            <a:avLst/>
          </a:prstGeom>
          <a:noFill/>
          <a:ln w="9525" cap="flat" cmpd="sng">
            <a:solidFill>
              <a:srgbClr val="3CB2AC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" name="Google Shape;76;p16"/>
          <p:cNvSpPr txBox="1">
            <a:spLocks noGrp="1"/>
          </p:cNvSpPr>
          <p:nvPr>
            <p:ph type="title"/>
          </p:nvPr>
        </p:nvSpPr>
        <p:spPr>
          <a:xfrm>
            <a:off x="772631" y="2661129"/>
            <a:ext cx="5569361" cy="2403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4800"/>
              <a:buFont typeface="Arial"/>
              <a:buNone/>
              <a:defRPr sz="480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nb-NO" dirty="0"/>
          </a:p>
        </p:txBody>
      </p:sp>
      <p:pic>
        <p:nvPicPr>
          <p:cNvPr id="77" name="Google Shape;77;p16" descr="Et bilde som inneholder sitter, mørk, mat&#10;&#10;Automatisk generert beskrivels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814214" y="5788583"/>
            <a:ext cx="2762524" cy="7116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1131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Image Quote">
  <p:cSld name="4_Image Quote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0C4A8D4-058A-B9CB-E374-8A66D130E7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3518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C4A8D4-058A-B9CB-E374-8A66D130E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Google Shape;79;g2c584ba02f5_0_82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588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80;g2c584ba02f5_0_829"/>
          <p:cNvSpPr txBox="1">
            <a:spLocks noGrp="1"/>
          </p:cNvSpPr>
          <p:nvPr>
            <p:ph type="title"/>
          </p:nvPr>
        </p:nvSpPr>
        <p:spPr>
          <a:xfrm>
            <a:off x="1758400" y="1844367"/>
            <a:ext cx="8675100" cy="272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>
                <a:solidFill>
                  <a:schemeClr val="lt1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9pPr>
          </a:lstStyle>
          <a:p>
            <a:endParaRPr lang="nb-NO" dirty="0"/>
          </a:p>
        </p:txBody>
      </p:sp>
      <p:sp>
        <p:nvSpPr>
          <p:cNvPr id="81" name="Google Shape;81;g2c584ba02f5_0_829"/>
          <p:cNvSpPr/>
          <p:nvPr/>
        </p:nvSpPr>
        <p:spPr>
          <a:xfrm>
            <a:off x="0" y="0"/>
            <a:ext cx="12192000" cy="60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b-NO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g2c584ba02f5_0_829"/>
          <p:cNvSpPr txBox="1">
            <a:spLocks noGrp="1"/>
          </p:cNvSpPr>
          <p:nvPr>
            <p:ph type="subTitle" idx="1"/>
          </p:nvPr>
        </p:nvSpPr>
        <p:spPr>
          <a:xfrm>
            <a:off x="4036800" y="4819833"/>
            <a:ext cx="4118400" cy="5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i="0" u="none" strike="noStrike" cap="none">
                <a:solidFill>
                  <a:srgbClr val="FFFFFF"/>
                </a:solidFill>
              </a:defRPr>
            </a:lvl1pPr>
            <a:lvl2pPr marR="0"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None/>
              <a:defRPr i="0" u="none" strike="noStrike" cap="none">
                <a:solidFill>
                  <a:srgbClr val="FFFFFF"/>
                </a:solidFill>
              </a:defRPr>
            </a:lvl2pPr>
            <a:lvl3pPr marR="0"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i="0" u="none" strike="noStrike" cap="none">
                <a:solidFill>
                  <a:srgbClr val="FFFFFF"/>
                </a:solidFill>
              </a:defRPr>
            </a:lvl3pPr>
            <a:lvl4pPr marR="0"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i="0" u="none" strike="noStrike" cap="none">
                <a:solidFill>
                  <a:srgbClr val="FFFFFF"/>
                </a:solidFill>
              </a:defRPr>
            </a:lvl4pPr>
            <a:lvl5pPr marR="0"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i="0" u="none" strike="noStrike" cap="none">
                <a:solidFill>
                  <a:srgbClr val="FFFFFF"/>
                </a:solidFill>
              </a:defRPr>
            </a:lvl5pPr>
            <a:lvl6pPr marR="0"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i="0" u="none" strike="noStrike" cap="none">
                <a:solidFill>
                  <a:srgbClr val="FFFFFF"/>
                </a:solidFill>
              </a:defRPr>
            </a:lvl6pPr>
            <a:lvl7pPr marR="0"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i="0" u="none" strike="noStrike" cap="none">
                <a:solidFill>
                  <a:srgbClr val="FFFFFF"/>
                </a:solidFill>
              </a:defRPr>
            </a:lvl7pPr>
            <a:lvl8pPr marR="0"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i="0" u="none" strike="noStrike" cap="none">
                <a:solidFill>
                  <a:srgbClr val="FFFFFF"/>
                </a:solidFill>
              </a:defRPr>
            </a:lvl8pPr>
            <a:lvl9pPr marR="0"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i="0" u="none" strike="noStrike" cap="none">
                <a:solidFill>
                  <a:srgbClr val="FFFFFF"/>
                </a:solidFill>
              </a:defRPr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708971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C - BLANK">
  <p:cSld name="EC - BLANK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FEFDCA8-520C-223A-5B23-607BB0948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404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EFDCA8-520C-223A-5B23-607BB0948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Google Shape;84;g2c584ba02f5_0_260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5" name="Google Shape;85;g2c584ba02f5_0_260"/>
          <p:cNvSpPr txBox="1"/>
          <p:nvPr/>
        </p:nvSpPr>
        <p:spPr>
          <a:xfrm>
            <a:off x="442913" y="649224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lang="nb-NO" sz="700" b="0" i="0" u="none" strike="noStrike" cap="none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8999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98">
          <p15:clr>
            <a:srgbClr val="FA7B17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">
  <p:cSld name="Chapter">
    <p:bg>
      <p:bgPr>
        <a:solidFill>
          <a:schemeClr val="accent2"/>
        </a:solidFill>
        <a:effectLst/>
      </p:bgPr>
    </p:bg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264DA3B-2363-D780-18E8-8CFBB3C76D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905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4DA3B-2363-D780-18E8-8CFBB3C76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Google Shape;87;g2c584ba02f5_0_339"/>
          <p:cNvSpPr txBox="1">
            <a:spLocks noGrp="1"/>
          </p:cNvSpPr>
          <p:nvPr>
            <p:ph type="title"/>
          </p:nvPr>
        </p:nvSpPr>
        <p:spPr>
          <a:xfrm>
            <a:off x="955295" y="3004269"/>
            <a:ext cx="10278900" cy="8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Tienne"/>
              <a:buNone/>
              <a:defRPr sz="6400" b="0" i="0" u="none" strike="noStrike" cap="none">
                <a:solidFill>
                  <a:schemeClr val="lt1"/>
                </a:solidFill>
                <a:latin typeface="Tienne"/>
                <a:ea typeface="Tienne"/>
                <a:cs typeface="Tienne"/>
                <a:sym typeface="Tienne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9pPr>
          </a:lstStyle>
          <a:p>
            <a:endParaRPr lang="nb-NO" dirty="0"/>
          </a:p>
        </p:txBody>
      </p:sp>
      <p:sp>
        <p:nvSpPr>
          <p:cNvPr id="88" name="Google Shape;88;g2c584ba02f5_0_339"/>
          <p:cNvSpPr txBox="1">
            <a:spLocks noGrp="1"/>
          </p:cNvSpPr>
          <p:nvPr>
            <p:ph type="body" idx="1"/>
          </p:nvPr>
        </p:nvSpPr>
        <p:spPr>
          <a:xfrm>
            <a:off x="9400918" y="5931751"/>
            <a:ext cx="2472300" cy="926400"/>
          </a:xfrm>
          <a:prstGeom prst="rect">
            <a:avLst/>
          </a:prstGeom>
          <a:noFill/>
          <a:ln w="9525" cap="flat" cmpd="sng">
            <a:solidFill>
              <a:srgbClr val="3AA0D3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ctr" rtl="0">
              <a:lnSpc>
                <a:spcPct val="130000"/>
              </a:lnSpc>
              <a:spcBef>
                <a:spcPts val="11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  <a:lvl2pPr marL="914400" marR="0" lvl="1" indent="-336550" algn="l">
              <a:lnSpc>
                <a:spcPct val="13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700"/>
              <a:buFont typeface="Noto Sans Symbols"/>
              <a:buChar char="▪"/>
              <a:defRPr sz="17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2pPr>
            <a:lvl3pPr marL="1371600" marR="0" lvl="2" indent="-228600" algn="l">
              <a:lnSpc>
                <a:spcPct val="13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1" i="0" u="none" strike="noStrike" cap="none">
                <a:solidFill>
                  <a:schemeClr val="dk1"/>
                </a:solidFill>
                <a:latin typeface="Tienne"/>
                <a:ea typeface="Tienne"/>
                <a:cs typeface="Tienne"/>
                <a:sym typeface="Tienne"/>
              </a:defRPr>
            </a:lvl3pPr>
            <a:lvl4pPr marL="1828800" marR="0" lvl="3" indent="-228600" algn="l">
              <a:lnSpc>
                <a:spcPct val="13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accent3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4pPr>
            <a:lvl5pPr marL="2286000" marR="0" lvl="4" indent="-22860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5pPr>
            <a:lvl6pPr marL="2743200" marR="0" lvl="5" indent="-323850" algn="l">
              <a:lnSpc>
                <a:spcPct val="13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Noto Sans Symbols"/>
              <a:buChar char="▪"/>
              <a:defRPr sz="15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6pPr>
            <a:lvl7pPr marL="3200400" marR="0" lvl="6" indent="-228600" algn="l">
              <a:lnSpc>
                <a:spcPct val="13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7pPr>
            <a:lvl8pPr marL="3657600" marR="0" lvl="7" indent="-298450" algn="l">
              <a:lnSpc>
                <a:spcPct val="13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▪"/>
              <a:defRPr sz="11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8pPr>
            <a:lvl9pPr marL="4114800" marR="0" lvl="8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9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07605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C - BREADCRUMB - BLCK">
  <p:cSld name="EC - BREADCRUMB - BLCK">
    <p:bg>
      <p:bgPr>
        <a:solidFill>
          <a:schemeClr val="dk1"/>
        </a:solidFill>
        <a:effectLst/>
      </p:bgPr>
    </p:bg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48AEFF-399D-D70B-1DFB-08E4E1798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449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48AEFF-399D-D70B-1DFB-08E4E1798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Google Shape;90;g2c584ba02f5_0_263"/>
          <p:cNvSpPr txBox="1">
            <a:spLocks noGrp="1"/>
          </p:cNvSpPr>
          <p:nvPr>
            <p:ph type="title"/>
          </p:nvPr>
        </p:nvSpPr>
        <p:spPr>
          <a:xfrm>
            <a:off x="442925" y="432001"/>
            <a:ext cx="11306100" cy="67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Georgia"/>
              <a:buNone/>
              <a:defRPr sz="1600" b="0" i="0" u="none" strike="noStrike" cap="none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 lang="nb-NO" dirty="0"/>
          </a:p>
        </p:txBody>
      </p:sp>
      <p:sp>
        <p:nvSpPr>
          <p:cNvPr id="91" name="Google Shape;91;g2c584ba02f5_0_263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F3F3F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F3F3F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F3F3F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F3F3F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F3F3F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F3F3F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F3F3F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F3F3F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F3F3F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2" name="Google Shape;92;g2c584ba02f5_0_263"/>
          <p:cNvSpPr txBox="1"/>
          <p:nvPr/>
        </p:nvSpPr>
        <p:spPr>
          <a:xfrm>
            <a:off x="442913" y="649224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lang="nb-NO" sz="700" b="0" i="0" u="none" strike="noStrike" cap="none" dirty="0">
              <a:solidFill>
                <a:srgbClr val="F3F3F3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15431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9BD0F79-2C3B-3DB8-56DB-9E85E5C26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260568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BD0F79-2C3B-3DB8-56DB-9E85E5C26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1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9601815" h="12900660" extrusionOk="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F1F2F2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p10"/>
          <p:cNvSpPr/>
          <p:nvPr/>
        </p:nvSpPr>
        <p:spPr>
          <a:xfrm>
            <a:off x="241609" y="195070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 extrusionOk="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chemeClr val="lt1">
              <a:alpha val="68235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nb-NO"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1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3600"/>
              <a:buFont typeface="Arial"/>
              <a:buNone/>
              <a:defRPr sz="3600" b="1" i="0" u="none" strike="noStrike" cap="none">
                <a:solidFill>
                  <a:srgbClr val="04043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nb-NO" dirty="0"/>
          </a:p>
        </p:txBody>
      </p:sp>
      <p:sp>
        <p:nvSpPr>
          <p:cNvPr id="13" name="Google Shape;13;p1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CB2AC"/>
              </a:buClr>
              <a:buSzPts val="2400"/>
              <a:buFont typeface="Noto Sans Symbols"/>
              <a:buChar char="▪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2AC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nb-NO" dirty="0"/>
          </a:p>
        </p:txBody>
      </p:sp>
      <p:sp>
        <p:nvSpPr>
          <p:cNvPr id="14" name="Google Shape;14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nb-NO" dirty="0"/>
          </a:p>
        </p:txBody>
      </p:sp>
      <p:sp>
        <p:nvSpPr>
          <p:cNvPr id="15" name="Google Shape;15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b-NO"/>
              <a:t>Rapport til SG – Presentert av [Navn]</a:t>
            </a:r>
            <a:endParaRPr lang="nb-NO" dirty="0"/>
          </a:p>
        </p:txBody>
      </p:sp>
      <p:sp>
        <p:nvSpPr>
          <p:cNvPr id="16" name="Google Shape;16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E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105940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745" r:id="rId26"/>
    <p:sldLayoutId id="2147483746" r:id="rId27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9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8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0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1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30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2.x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5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6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7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8A0BF"/>
        </a:solidFill>
        <a:effectLst/>
      </p:bgPr>
    </p:bg>
    <p:spTree>
      <p:nvGrpSpPr>
        <p:cNvPr id="1" name="Shape 701">
          <a:extLst>
            <a:ext uri="{FF2B5EF4-FFF2-40B4-BE49-F238E27FC236}">
              <a16:creationId xmlns:a16="http://schemas.microsoft.com/office/drawing/2014/main" id="{09287B2C-B9BF-DDF6-5A9E-EAA22C60F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2CCF382-CDDD-28E4-A55E-D54AB8D2EA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53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CCF382-CDDD-28E4-A55E-D54AB8D2EA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2" name="Google Shape;702;g3376fdc34da_0_0">
            <a:extLst>
              <a:ext uri="{FF2B5EF4-FFF2-40B4-BE49-F238E27FC236}">
                <a16:creationId xmlns:a16="http://schemas.microsoft.com/office/drawing/2014/main" id="{B5CA77E5-F713-C48B-FD5D-DE6848D0E15C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865031" y="2371800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8575" rIns="97125" bIns="48575" anchor="b" anchorCtr="0">
            <a:normAutofit/>
          </a:bodyPr>
          <a:lstStyle/>
          <a:p>
            <a:pPr lvl="0" algn="l">
              <a:lnSpc>
                <a:spcPct val="100000"/>
              </a:lnSpc>
              <a:buClr>
                <a:schemeClr val="dk1"/>
              </a:buClr>
              <a:buSzPts val="4700"/>
            </a:pPr>
            <a:r>
              <a:rPr lang="nb-NO" sz="1900" noProof="0" dirty="0">
                <a:solidFill>
                  <a:schemeClr val="accent3"/>
                </a:solidFill>
              </a:rPr>
              <a:t>[Prosjekt/Initiativ] – [Periode]</a:t>
            </a:r>
            <a:br>
              <a:rPr lang="nb-NO" sz="1900" noProof="0" dirty="0">
                <a:solidFill>
                  <a:srgbClr val="F96032"/>
                </a:solidFill>
              </a:rPr>
            </a:br>
            <a:r>
              <a:rPr lang="nb-NO" sz="4000" noProof="0" dirty="0">
                <a:solidFill>
                  <a:srgbClr val="20217A"/>
                </a:solidFill>
              </a:rPr>
              <a:t>Mal: Gevinstrapport</a:t>
            </a:r>
            <a:endParaRPr lang="nb-NO" sz="4700" noProof="0" dirty="0">
              <a:solidFill>
                <a:srgbClr val="20217A"/>
              </a:solidFill>
            </a:endParaRPr>
          </a:p>
        </p:txBody>
      </p:sp>
      <p:sp>
        <p:nvSpPr>
          <p:cNvPr id="703" name="Google Shape;703;g3376fdc34da_0_0">
            <a:extLst>
              <a:ext uri="{FF2B5EF4-FFF2-40B4-BE49-F238E27FC236}">
                <a16:creationId xmlns:a16="http://schemas.microsoft.com/office/drawing/2014/main" id="{06A0E2D6-53C2-F65B-5412-184950415A97}"/>
              </a:ext>
            </a:extLst>
          </p:cNvPr>
          <p:cNvSpPr txBox="1"/>
          <p:nvPr/>
        </p:nvSpPr>
        <p:spPr>
          <a:xfrm>
            <a:off x="772631" y="1981200"/>
            <a:ext cx="18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7125" tIns="48575" rIns="97125" bIns="48575" anchor="t" anchorCtr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  <a:tabLst/>
              <a:defRPr/>
            </a:pPr>
            <a:endParaRPr kumimoji="0" lang="nb-NO" sz="1900" b="0" i="0" u="none" strike="noStrike" kern="0" cap="none" spc="0" normalizeH="0" baseline="0" noProof="0" dirty="0">
              <a:ln>
                <a:noFill/>
              </a:ln>
              <a:solidFill>
                <a:srgbClr val="040439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7" name="Slide Number Placeholder 1266">
            <a:extLst>
              <a:ext uri="{FF2B5EF4-FFF2-40B4-BE49-F238E27FC236}">
                <a16:creationId xmlns:a16="http://schemas.microsoft.com/office/drawing/2014/main" id="{2AEA9829-90A6-8D75-459B-8D15A68A0A2B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041937" y="6217640"/>
            <a:ext cx="2743200" cy="365200"/>
          </a:xfrm>
        </p:spPr>
        <p:txBody>
          <a:bodyPr/>
          <a:lstStyle/>
          <a:p>
            <a:pPr marL="0" lvl="0" indent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b-NO" noProof="0" smtClean="0"/>
              <a:pPr marL="0" lvl="0" indent="0" algn="r">
                <a:spcBef>
                  <a:spcPts val="0"/>
                </a:spcBef>
                <a:spcAft>
                  <a:spcPts val="0"/>
                </a:spcAft>
                <a:buNone/>
              </a:pPr>
              <a:t>1</a:t>
            </a:fld>
            <a:endParaRPr lang="nb-NO" noProof="0" dirty="0"/>
          </a:p>
        </p:txBody>
      </p:sp>
      <p:sp>
        <p:nvSpPr>
          <p:cNvPr id="1268" name="Footer Placeholder 1267">
            <a:extLst>
              <a:ext uri="{FF2B5EF4-FFF2-40B4-BE49-F238E27FC236}">
                <a16:creationId xmlns:a16="http://schemas.microsoft.com/office/drawing/2014/main" id="{BC48A512-BDB0-8583-B369-22A0F7D078B4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865031" y="4940720"/>
            <a:ext cx="4704806" cy="365200"/>
          </a:xfrm>
        </p:spPr>
        <p:txBody>
          <a:bodyPr/>
          <a:lstStyle/>
          <a:p>
            <a:pPr algn="l"/>
            <a:r>
              <a:rPr lang="nb-NO" noProof="0" dirty="0">
                <a:solidFill>
                  <a:srgbClr val="20207A"/>
                </a:solidFill>
              </a:rPr>
              <a:t>[Rapport til SG] – Presentert av [Navn]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83E4681-E90E-295B-6B10-0A6EDB295D3A}"/>
              </a:ext>
            </a:extLst>
          </p:cNvPr>
          <p:cNvGrpSpPr/>
          <p:nvPr/>
        </p:nvGrpSpPr>
        <p:grpSpPr>
          <a:xfrm>
            <a:off x="6336489" y="1826560"/>
            <a:ext cx="4077048" cy="3819835"/>
            <a:chOff x="5836384" y="1765600"/>
            <a:chExt cx="4077048" cy="3819835"/>
          </a:xfrm>
        </p:grpSpPr>
        <p:pic>
          <p:nvPicPr>
            <p:cNvPr id="4" name="Picture 6">
              <a:extLst>
                <a:ext uri="{FF2B5EF4-FFF2-40B4-BE49-F238E27FC236}">
                  <a16:creationId xmlns:a16="http://schemas.microsoft.com/office/drawing/2014/main" id="{296A532B-9F41-2ECB-3EF6-7C91E5AEA2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6384" y="3785435"/>
              <a:ext cx="1800000" cy="18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10">
              <a:extLst>
                <a:ext uri="{FF2B5EF4-FFF2-40B4-BE49-F238E27FC236}">
                  <a16:creationId xmlns:a16="http://schemas.microsoft.com/office/drawing/2014/main" id="{3984EAB0-619D-A37B-3EA6-F9B1786F40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01537" y="1765600"/>
              <a:ext cx="1800000" cy="18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12">
              <a:extLst>
                <a:ext uri="{FF2B5EF4-FFF2-40B4-BE49-F238E27FC236}">
                  <a16:creationId xmlns:a16="http://schemas.microsoft.com/office/drawing/2014/main" id="{1E09F00E-EFA6-66F3-1431-4A2E763975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6384" y="1765600"/>
              <a:ext cx="1800000" cy="18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14">
              <a:extLst>
                <a:ext uri="{FF2B5EF4-FFF2-40B4-BE49-F238E27FC236}">
                  <a16:creationId xmlns:a16="http://schemas.microsoft.com/office/drawing/2014/main" id="{F3DCCEC8-495C-678B-96B1-257428A07C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9643" y="3785435"/>
              <a:ext cx="1823789" cy="18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78988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4265F6DC-B30B-EC74-46E8-C98620904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D0C6B87C-315A-33F0-2C4B-3CF7793F1A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723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C6B87C-315A-33F0-2C4B-3CF7793F1A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DD5313C7-A69F-9C9F-2B40-1F87E8BA124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615583"/>
            <a:ext cx="4455160" cy="59291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Sykehusopphold</a:t>
            </a:r>
          </a:p>
        </p:txBody>
      </p:sp>
      <p:sp>
        <p:nvSpPr>
          <p:cNvPr id="2" name="Google Shape;733;p138">
            <a:extLst>
              <a:ext uri="{FF2B5EF4-FFF2-40B4-BE49-F238E27FC236}">
                <a16:creationId xmlns:a16="http://schemas.microsoft.com/office/drawing/2014/main" id="{29EF39DE-36B5-7DD0-0727-D22F5C3B49C5}"/>
              </a:ext>
            </a:extLst>
          </p:cNvPr>
          <p:cNvSpPr txBox="1">
            <a:spLocks/>
          </p:cNvSpPr>
          <p:nvPr/>
        </p:nvSpPr>
        <p:spPr>
          <a:xfrm>
            <a:off x="838199" y="1619466"/>
            <a:ext cx="4393089" cy="1867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7145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900" noProof="0" dirty="0">
                <a:latin typeface="Arial" panose="020B0604020202020204" pitchFamily="34" charset="0"/>
                <a:cs typeface="Arial" panose="020B0604020202020204" pitchFamily="34" charset="0"/>
              </a:rPr>
              <a:t>Denne figuren viser kostnadsavvik i kroner, for endringer i kostnader for sykehusopphold per måleperiode. Avviket beregnes som (faktiske døgn − normerte timer) ×  estimert kostnad per døgn sykehusopphold × antall måneder (måleintervall). </a:t>
            </a:r>
            <a:br>
              <a:rPr lang="nb-NO" sz="900" noProof="0" dirty="0"/>
            </a:br>
            <a:br>
              <a:rPr lang="nb-NO" sz="900" noProof="0" dirty="0"/>
            </a:br>
            <a:r>
              <a:rPr lang="nb-NO" sz="900" b="1" noProof="0" dirty="0"/>
              <a:t>Slik tolkes resultatet</a:t>
            </a:r>
            <a:endParaRPr lang="nb-NO" sz="900" noProof="0" dirty="0"/>
          </a:p>
          <a:p>
            <a:pPr marL="72000" indent="-171450">
              <a:lnSpc>
                <a:spcPct val="150000"/>
              </a:lnSpc>
              <a:spcBef>
                <a:spcPts val="600"/>
              </a:spcBef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900" noProof="0" dirty="0"/>
              <a:t>Negativt tall: brukt mindre tid enn normert → kostnadsreduksjon.</a:t>
            </a:r>
          </a:p>
          <a:p>
            <a:pPr marL="7200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900" noProof="0" dirty="0"/>
              <a:t>Positivt tall: brukt mer tid enn normert → kostnadsøkning</a:t>
            </a:r>
            <a:endParaRPr lang="nb-NO" sz="1800" noProof="0" dirty="0"/>
          </a:p>
          <a:p>
            <a:pPr marL="7200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sz="1800" noProof="0" dirty="0"/>
          </a:p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endParaRPr lang="nb-NO" sz="18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sz="16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noProof="0" dirty="0"/>
          </a:p>
          <a:p>
            <a:pPr marL="171450" marR="0" lvl="0" indent="-171450" algn="l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E85F31-C425-1B60-066F-77A81FE3B1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5666" y="1619466"/>
            <a:ext cx="5358135" cy="364574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C8B3F9D9-A4D2-AF26-C5B1-1345EBD2A729}"/>
              </a:ext>
            </a:extLst>
          </p:cNvPr>
          <p:cNvGrpSpPr/>
          <p:nvPr/>
        </p:nvGrpSpPr>
        <p:grpSpPr>
          <a:xfrm>
            <a:off x="7262316" y="5420484"/>
            <a:ext cx="4682361" cy="856489"/>
            <a:chOff x="5434305" y="5112802"/>
            <a:chExt cx="5843653" cy="1006911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8C2BA68B-2C35-B9A6-F606-65F2467AFC37}"/>
                </a:ext>
              </a:extLst>
            </p:cNvPr>
            <p:cNvSpPr/>
            <p:nvPr/>
          </p:nvSpPr>
          <p:spPr>
            <a:xfrm>
              <a:off x="5718081" y="5360046"/>
              <a:ext cx="5559877" cy="759667"/>
            </a:xfrm>
            <a:prstGeom prst="roundRect">
              <a:avLst>
                <a:gd name="adj" fmla="val 9470"/>
              </a:avLst>
            </a:prstGeom>
            <a:solidFill>
              <a:srgbClr val="85A0BE">
                <a:lumMod val="20000"/>
                <a:lumOff val="80000"/>
              </a:srgbClr>
            </a:solidFill>
            <a:ln w="19050" cap="flat" cmpd="sng" algn="ctr">
              <a:solidFill>
                <a:srgbClr val="003329"/>
              </a:solidFill>
              <a:prstDash val="solid"/>
              <a:miter lim="800000"/>
            </a:ln>
            <a:effectLst/>
          </p:spPr>
          <p:txBody>
            <a:bodyPr lIns="216000" tIns="180000" rIns="324000" bIns="4572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Arial"/>
                </a:rPr>
                <a:t>Ta skjermutklipp fra Excel-filen din. Fjern denne boksen </a:t>
              </a:r>
              <a:r>
                <a:rPr lang="nb-NO" sz="1200" kern="0">
                  <a:solidFill>
                    <a:srgbClr val="0E2841"/>
                  </a:solidFill>
                  <a:latin typeface="Aptos" panose="020B0004020202020204"/>
                  <a:cs typeface="Arial"/>
                </a:rPr>
                <a:t>etterpå</a:t>
              </a:r>
              <a:r>
                <a:rPr kumimoji="0" lang="nb-NO" sz="1200" b="0" i="0" u="none" strike="noStrike" kern="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Arial"/>
                </a:rPr>
                <a:t>.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AE3B1AC-A64C-8BBB-675B-740AB3EA51C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34305" y="5112802"/>
              <a:ext cx="680604" cy="556215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0730EAA-551A-FECC-FFE0-A2B8057A4C87}"/>
              </a:ext>
            </a:extLst>
          </p:cNvPr>
          <p:cNvSpPr>
            <a:spLocks/>
          </p:cNvSpPr>
          <p:nvPr/>
        </p:nvSpPr>
        <p:spPr>
          <a:xfrm>
            <a:off x="950071" y="4703967"/>
            <a:ext cx="4393089" cy="1422840"/>
          </a:xfrm>
          <a:prstGeom prst="rect">
            <a:avLst/>
          </a:prstGeom>
          <a:solidFill>
            <a:srgbClr val="CFD9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latin typeface="+mj-lt"/>
            </a:endParaRPr>
          </a:p>
        </p:txBody>
      </p:sp>
      <p:sp>
        <p:nvSpPr>
          <p:cNvPr id="7" name="Google Shape;733;p138">
            <a:extLst>
              <a:ext uri="{FF2B5EF4-FFF2-40B4-BE49-F238E27FC236}">
                <a16:creationId xmlns:a16="http://schemas.microsoft.com/office/drawing/2014/main" id="{BDCF28FD-9FF4-30B3-A2C1-A1C11AACFF7F}"/>
              </a:ext>
            </a:extLst>
          </p:cNvPr>
          <p:cNvSpPr txBox="1">
            <a:spLocks/>
          </p:cNvSpPr>
          <p:nvPr/>
        </p:nvSpPr>
        <p:spPr>
          <a:xfrm>
            <a:off x="1073338" y="4870223"/>
            <a:ext cx="4151445" cy="1065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b-NO" sz="1300" dirty="0">
                <a:latin typeface="Segoe UI"/>
                <a:cs typeface="Segoe UI"/>
              </a:rPr>
              <a:t>Her kan du legge inn egne refleksjoner, vurderinger eller </a:t>
            </a:r>
            <a:r>
              <a:rPr lang="nb-NO" sz="1300">
                <a:latin typeface="Segoe UI"/>
                <a:cs typeface="Segoe UI"/>
              </a:rPr>
              <a:t>supplerende kommentarer som du ønsker å gi mer synlighet.</a:t>
            </a:r>
            <a:endParaRPr lang="en-US" sz="1500"/>
          </a:p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br>
              <a:rPr lang="nb-NO" sz="1200" noProof="0" dirty="0"/>
            </a:br>
            <a:br>
              <a:rPr lang="nb-NO" sz="1200" noProof="0" dirty="0"/>
            </a:br>
            <a:r>
              <a:rPr lang="nb-NO" sz="1200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00177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0">
          <a:extLst>
            <a:ext uri="{FF2B5EF4-FFF2-40B4-BE49-F238E27FC236}">
              <a16:creationId xmlns:a16="http://schemas.microsoft.com/office/drawing/2014/main" id="{B768994D-5C41-88F5-7333-1EC2D6A96E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0168FAB-7205-3F9E-24FC-F50E1C46CA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8756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168FAB-7205-3F9E-24FC-F50E1C46C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1" name="Google Shape;741;g3376fdc34da_0_1998">
            <a:extLst>
              <a:ext uri="{FF2B5EF4-FFF2-40B4-BE49-F238E27FC236}">
                <a16:creationId xmlns:a16="http://schemas.microsoft.com/office/drawing/2014/main" id="{5CE0A37F-EAA5-219B-6639-BCEF12EAF8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17600" y="3688291"/>
            <a:ext cx="14020800" cy="17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</a:pPr>
            <a:r>
              <a:rPr lang="nb-NO" noProof="0" dirty="0"/>
              <a:t>Casene vi skal jobbe med</a:t>
            </a:r>
          </a:p>
        </p:txBody>
      </p:sp>
      <p:sp>
        <p:nvSpPr>
          <p:cNvPr id="742" name="Google Shape;742;g3376fdc34da_0_1998">
            <a:extLst>
              <a:ext uri="{FF2B5EF4-FFF2-40B4-BE49-F238E27FC236}">
                <a16:creationId xmlns:a16="http://schemas.microsoft.com/office/drawing/2014/main" id="{DC157908-D3C9-02BF-197E-6272D0834691}"/>
              </a:ext>
            </a:extLst>
          </p:cNvPr>
          <p:cNvSpPr/>
          <p:nvPr/>
        </p:nvSpPr>
        <p:spPr>
          <a:xfrm>
            <a:off x="255475" y="198700"/>
            <a:ext cx="11680500" cy="6452100"/>
          </a:xfrm>
          <a:prstGeom prst="rect">
            <a:avLst/>
          </a:prstGeom>
          <a:solidFill>
            <a:srgbClr val="ECF0F5"/>
          </a:solidFill>
          <a:ln>
            <a:noFill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  <a:tabLst/>
              <a:defRPr/>
            </a:pPr>
            <a:endParaRPr kumimoji="0" lang="nb-NO" sz="1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3" name="Google Shape;743;g3376fdc34da_0_1998">
            <a:extLst>
              <a:ext uri="{FF2B5EF4-FFF2-40B4-BE49-F238E27FC236}">
                <a16:creationId xmlns:a16="http://schemas.microsoft.com/office/drawing/2014/main" id="{BDC12513-467B-269D-B56A-26E1283B7EDB}"/>
              </a:ext>
            </a:extLst>
          </p:cNvPr>
          <p:cNvSpPr txBox="1">
            <a:spLocks noGrp="1"/>
          </p:cNvSpPr>
          <p:nvPr>
            <p:ph type="ctrTitle" idx="4294967295"/>
          </p:nvPr>
        </p:nvSpPr>
        <p:spPr>
          <a:xfrm>
            <a:off x="1523725" y="2801651"/>
            <a:ext cx="9144000" cy="126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7125" tIns="48575" rIns="97125" bIns="48575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6400"/>
              <a:buFont typeface="Arial"/>
              <a:buNone/>
            </a:pPr>
            <a:r>
              <a:rPr lang="nb-NO" noProof="0" dirty="0">
                <a:solidFill>
                  <a:srgbClr val="20207A"/>
                </a:solidFill>
              </a:rPr>
              <a:t>Flere innsikter og perspektiver</a:t>
            </a:r>
          </a:p>
        </p:txBody>
      </p:sp>
    </p:spTree>
    <p:extLst>
      <p:ext uri="{BB962C8B-B14F-4D97-AF65-F5344CB8AC3E}">
        <p14:creationId xmlns:p14="http://schemas.microsoft.com/office/powerpoint/2010/main" val="13960181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6E9FD4F9-3914-E366-7066-9640768A4B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5BF9AC49-5047-EFCB-7E66-E327ABC86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893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F9AC49-5047-EFCB-7E66-E327ABC86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5004908F-821D-BA4F-2E5B-F4425F71BD7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6831" y="609233"/>
            <a:ext cx="5369169" cy="59291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Pasienttilfredshet</a:t>
            </a:r>
          </a:p>
        </p:txBody>
      </p:sp>
      <p:sp>
        <p:nvSpPr>
          <p:cNvPr id="3" name="Google Shape;733;p138">
            <a:extLst>
              <a:ext uri="{FF2B5EF4-FFF2-40B4-BE49-F238E27FC236}">
                <a16:creationId xmlns:a16="http://schemas.microsoft.com/office/drawing/2014/main" id="{B77FBBAA-B2BB-E72A-3B7C-F1E8F6DE86D1}"/>
              </a:ext>
            </a:extLst>
          </p:cNvPr>
          <p:cNvSpPr txBox="1">
            <a:spLocks/>
          </p:cNvSpPr>
          <p:nvPr/>
        </p:nvSpPr>
        <p:spPr>
          <a:xfrm>
            <a:off x="967672" y="1679951"/>
            <a:ext cx="4393089" cy="13464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 fontScale="92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1755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1200" noProof="0" dirty="0"/>
              <a:t>Gevinstverktøyet tar ikke for seg alle typer gevinster, så tillegg til de forrige </a:t>
            </a:r>
            <a:r>
              <a:rPr lang="nb-NO" sz="1200"/>
              <a:t>slidene</a:t>
            </a:r>
            <a:r>
              <a:rPr lang="nb-NO" sz="1200" noProof="0" dirty="0"/>
              <a:t> kan det være nyttig å ta med andre type data.</a:t>
            </a:r>
            <a:br>
              <a:rPr lang="nb-NO" sz="1200" noProof="0" dirty="0"/>
            </a:br>
            <a:endParaRPr lang="nb-NO" sz="1200" noProof="0" dirty="0"/>
          </a:p>
          <a:p>
            <a:pPr marL="7200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1200" noProof="0" dirty="0"/>
              <a:t>For eksempel tall fra undersøkelser blant pasienter og ansatte, eller bare kvalitative kommentarer om opplevde gevinster. </a:t>
            </a:r>
            <a:endParaRPr lang="nb-NO" sz="18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sz="16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noProof="0" dirty="0"/>
          </a:p>
          <a:p>
            <a:pPr marL="171450" marR="0" lvl="0" indent="-171450" algn="l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B2BF1EA5-0737-C5AA-ACF1-545E2C5DD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528" y="3415090"/>
            <a:ext cx="3733800" cy="2638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0E0B0EE-2614-907C-42F6-83366E53294C}"/>
              </a:ext>
            </a:extLst>
          </p:cNvPr>
          <p:cNvSpPr>
            <a:spLocks/>
          </p:cNvSpPr>
          <p:nvPr/>
        </p:nvSpPr>
        <p:spPr>
          <a:xfrm>
            <a:off x="950071" y="4703967"/>
            <a:ext cx="4393089" cy="1422840"/>
          </a:xfrm>
          <a:prstGeom prst="rect">
            <a:avLst/>
          </a:prstGeom>
          <a:solidFill>
            <a:srgbClr val="CFD9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latin typeface="+mj-lt"/>
            </a:endParaRPr>
          </a:p>
        </p:txBody>
      </p:sp>
      <p:sp>
        <p:nvSpPr>
          <p:cNvPr id="6" name="Google Shape;733;p138">
            <a:extLst>
              <a:ext uri="{FF2B5EF4-FFF2-40B4-BE49-F238E27FC236}">
                <a16:creationId xmlns:a16="http://schemas.microsoft.com/office/drawing/2014/main" id="{FB15A2D6-673C-8CDF-EBA8-CFA6726C3F6A}"/>
              </a:ext>
            </a:extLst>
          </p:cNvPr>
          <p:cNvSpPr txBox="1">
            <a:spLocks/>
          </p:cNvSpPr>
          <p:nvPr/>
        </p:nvSpPr>
        <p:spPr>
          <a:xfrm>
            <a:off x="1073338" y="4870223"/>
            <a:ext cx="4151445" cy="1065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b-NO" sz="1300" dirty="0">
                <a:latin typeface="Segoe UI"/>
                <a:cs typeface="Segoe UI"/>
              </a:rPr>
              <a:t>Her kan du legge inn egne refleksjoner, vurderinger eller </a:t>
            </a:r>
            <a:r>
              <a:rPr lang="nb-NO" sz="1300">
                <a:latin typeface="Segoe UI"/>
                <a:cs typeface="Segoe UI"/>
              </a:rPr>
              <a:t>supplerende kommentarer som du ønsker å gi mer synlighet.</a:t>
            </a:r>
            <a:endParaRPr lang="en-US" sz="1500"/>
          </a:p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br>
              <a:rPr lang="nb-NO" sz="1200" noProof="0" dirty="0"/>
            </a:br>
            <a:br>
              <a:rPr lang="nb-NO" sz="1200" noProof="0" dirty="0"/>
            </a:br>
            <a:r>
              <a:rPr lang="nb-NO" sz="1200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1252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4BB63CCD-5254-C911-AE0D-3A2DF61268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15A141B3-D73C-B882-3602-408C45A88F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423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A141B3-D73C-B882-3602-408C45A88F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DCB291AC-BB22-E3CF-2B16-BEF6690D21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6831" y="609233"/>
            <a:ext cx="5369169" cy="59291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Medarbeidertilfredshet</a:t>
            </a:r>
          </a:p>
        </p:txBody>
      </p:sp>
      <p:sp>
        <p:nvSpPr>
          <p:cNvPr id="3" name="Google Shape;733;p138">
            <a:extLst>
              <a:ext uri="{FF2B5EF4-FFF2-40B4-BE49-F238E27FC236}">
                <a16:creationId xmlns:a16="http://schemas.microsoft.com/office/drawing/2014/main" id="{E1BC61F4-87B5-10AD-70BA-549456A358FA}"/>
              </a:ext>
            </a:extLst>
          </p:cNvPr>
          <p:cNvSpPr txBox="1">
            <a:spLocks/>
          </p:cNvSpPr>
          <p:nvPr/>
        </p:nvSpPr>
        <p:spPr>
          <a:xfrm>
            <a:off x="967672" y="1679951"/>
            <a:ext cx="4393089" cy="13464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 fontScale="92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1755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1200" noProof="0" dirty="0"/>
              <a:t>Gevinstverktøyet tar ikke for seg alle typer gevinster, så tillegg til de forrige </a:t>
            </a:r>
            <a:r>
              <a:rPr lang="nb-NO" sz="1200"/>
              <a:t>slidene</a:t>
            </a:r>
            <a:r>
              <a:rPr lang="nb-NO" sz="1200" noProof="0" dirty="0"/>
              <a:t> kan det være nyttig å ta med andre type data.</a:t>
            </a:r>
            <a:br>
              <a:rPr lang="nb-NO" sz="1200" noProof="0" dirty="0"/>
            </a:br>
            <a:endParaRPr lang="nb-NO" sz="1200" noProof="0" dirty="0"/>
          </a:p>
          <a:p>
            <a:pPr marL="7200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1200" noProof="0" dirty="0"/>
              <a:t>For eksempel tall fra undersøkelser blant pasienter og ansatte, eller bare kvalitative kommentarer om opplevde gevinster. </a:t>
            </a:r>
            <a:endParaRPr lang="nb-NO" sz="18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sz="16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noProof="0" dirty="0"/>
          </a:p>
          <a:p>
            <a:pPr marL="171450" marR="0" lvl="0" indent="-171450" algn="l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3B39B87-8BF4-A1A3-2FA1-3D7808ED0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5660" y="3703986"/>
            <a:ext cx="3325405" cy="2081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1548A07-2F08-8CAF-9E96-FE0EC2AD70A4}"/>
              </a:ext>
            </a:extLst>
          </p:cNvPr>
          <p:cNvSpPr>
            <a:spLocks/>
          </p:cNvSpPr>
          <p:nvPr/>
        </p:nvSpPr>
        <p:spPr>
          <a:xfrm>
            <a:off x="950071" y="4703967"/>
            <a:ext cx="4393089" cy="1422840"/>
          </a:xfrm>
          <a:prstGeom prst="rect">
            <a:avLst/>
          </a:prstGeom>
          <a:solidFill>
            <a:srgbClr val="CFD9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latin typeface="+mj-lt"/>
            </a:endParaRPr>
          </a:p>
        </p:txBody>
      </p:sp>
      <p:sp>
        <p:nvSpPr>
          <p:cNvPr id="6" name="Google Shape;733;p138">
            <a:extLst>
              <a:ext uri="{FF2B5EF4-FFF2-40B4-BE49-F238E27FC236}">
                <a16:creationId xmlns:a16="http://schemas.microsoft.com/office/drawing/2014/main" id="{1410519D-3574-06A8-FC35-BAA3496908C3}"/>
              </a:ext>
            </a:extLst>
          </p:cNvPr>
          <p:cNvSpPr txBox="1">
            <a:spLocks/>
          </p:cNvSpPr>
          <p:nvPr/>
        </p:nvSpPr>
        <p:spPr>
          <a:xfrm>
            <a:off x="1073338" y="4870223"/>
            <a:ext cx="4151445" cy="1065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b-NO" sz="1300" dirty="0">
                <a:latin typeface="Segoe UI"/>
                <a:cs typeface="Segoe UI"/>
              </a:rPr>
              <a:t>Her kan du legge inn egne refleksjoner, vurderinger eller </a:t>
            </a:r>
            <a:r>
              <a:rPr lang="nb-NO" sz="1300">
                <a:latin typeface="Segoe UI"/>
                <a:cs typeface="Segoe UI"/>
              </a:rPr>
              <a:t>supplerende kommentarer som du ønsker å gi mer synlighet.</a:t>
            </a:r>
            <a:endParaRPr lang="en-US" sz="1500"/>
          </a:p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br>
              <a:rPr lang="nb-NO" sz="1200" noProof="0" dirty="0"/>
            </a:br>
            <a:br>
              <a:rPr lang="nb-NO" sz="1200" noProof="0" dirty="0"/>
            </a:br>
            <a:r>
              <a:rPr lang="nb-NO" sz="1200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44560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0">
          <a:extLst>
            <a:ext uri="{FF2B5EF4-FFF2-40B4-BE49-F238E27FC236}">
              <a16:creationId xmlns:a16="http://schemas.microsoft.com/office/drawing/2014/main" id="{42B2BD44-C271-5B5B-B212-43A3563AE3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8F3DCBB-D7AD-DE47-3B11-D73C3CEC8C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891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F3DCBB-D7AD-DE47-3B11-D73C3CEC8C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1" name="Google Shape;741;g3376fdc34da_0_1998">
            <a:extLst>
              <a:ext uri="{FF2B5EF4-FFF2-40B4-BE49-F238E27FC236}">
                <a16:creationId xmlns:a16="http://schemas.microsoft.com/office/drawing/2014/main" id="{006BEB3E-12C4-FFC9-56B6-6E7F062B579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17600" y="3688291"/>
            <a:ext cx="14020800" cy="17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</a:pPr>
            <a:r>
              <a:rPr lang="nb-NO" noProof="0" dirty="0"/>
              <a:t>Casene vi skal jobbe med</a:t>
            </a:r>
          </a:p>
        </p:txBody>
      </p:sp>
      <p:sp>
        <p:nvSpPr>
          <p:cNvPr id="742" name="Google Shape;742;g3376fdc34da_0_1998">
            <a:extLst>
              <a:ext uri="{FF2B5EF4-FFF2-40B4-BE49-F238E27FC236}">
                <a16:creationId xmlns:a16="http://schemas.microsoft.com/office/drawing/2014/main" id="{22D2F0AA-39F1-C60C-1FE1-45C925B2B046}"/>
              </a:ext>
            </a:extLst>
          </p:cNvPr>
          <p:cNvSpPr/>
          <p:nvPr/>
        </p:nvSpPr>
        <p:spPr>
          <a:xfrm>
            <a:off x="255475" y="198700"/>
            <a:ext cx="11680500" cy="6452100"/>
          </a:xfrm>
          <a:prstGeom prst="rect">
            <a:avLst/>
          </a:prstGeom>
          <a:solidFill>
            <a:srgbClr val="ECF0F5"/>
          </a:solidFill>
          <a:ln>
            <a:noFill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  <a:tabLst/>
              <a:defRPr/>
            </a:pPr>
            <a:endParaRPr kumimoji="0" lang="nb-NO" sz="1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3" name="Google Shape;743;g3376fdc34da_0_1998">
            <a:extLst>
              <a:ext uri="{FF2B5EF4-FFF2-40B4-BE49-F238E27FC236}">
                <a16:creationId xmlns:a16="http://schemas.microsoft.com/office/drawing/2014/main" id="{7F21FA33-FA96-3F7D-31F8-CEE1231A06CD}"/>
              </a:ext>
            </a:extLst>
          </p:cNvPr>
          <p:cNvSpPr txBox="1">
            <a:spLocks noGrp="1"/>
          </p:cNvSpPr>
          <p:nvPr>
            <p:ph type="ctrTitle" idx="4294967295"/>
          </p:nvPr>
        </p:nvSpPr>
        <p:spPr>
          <a:xfrm>
            <a:off x="1523725" y="2801651"/>
            <a:ext cx="9144000" cy="126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7125" tIns="48575" rIns="97125" bIns="48575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6400"/>
              <a:buFont typeface="Arial"/>
              <a:buNone/>
            </a:pPr>
            <a:r>
              <a:rPr lang="nb-NO" noProof="0" dirty="0">
                <a:solidFill>
                  <a:srgbClr val="20207A"/>
                </a:solidFill>
              </a:rPr>
              <a:t>Resultater og refleksjoner</a:t>
            </a:r>
          </a:p>
        </p:txBody>
      </p:sp>
    </p:spTree>
    <p:extLst>
      <p:ext uri="{BB962C8B-B14F-4D97-AF65-F5344CB8AC3E}">
        <p14:creationId xmlns:p14="http://schemas.microsoft.com/office/powerpoint/2010/main" val="3299127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8F5675DD-A6BF-7D48-9707-E6F14D7FE6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716BF961-5EEE-D7AC-705E-BDD4F8384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882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6BF961-5EEE-D7AC-705E-BDD4F838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8610F0C0-815E-C1E2-D72E-1C75AE4CE0B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6831" y="609233"/>
            <a:ext cx="7293219" cy="59291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Dette gjør vi som fungerer bra</a:t>
            </a:r>
          </a:p>
        </p:txBody>
      </p:sp>
      <p:sp>
        <p:nvSpPr>
          <p:cNvPr id="3" name="Google Shape;733;p138">
            <a:extLst>
              <a:ext uri="{FF2B5EF4-FFF2-40B4-BE49-F238E27FC236}">
                <a16:creationId xmlns:a16="http://schemas.microsoft.com/office/drawing/2014/main" id="{37E7DE40-6937-F1E7-7095-A265AEA51134}"/>
              </a:ext>
            </a:extLst>
          </p:cNvPr>
          <p:cNvSpPr txBox="1">
            <a:spLocks/>
          </p:cNvSpPr>
          <p:nvPr/>
        </p:nvSpPr>
        <p:spPr>
          <a:xfrm>
            <a:off x="865195" y="1587777"/>
            <a:ext cx="6650972" cy="446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200000"/>
              </a:lnSpc>
              <a:buClr>
                <a:srgbClr val="7BD2CD"/>
              </a:buClr>
              <a:buSzPct val="130000"/>
            </a:pPr>
            <a:r>
              <a:rPr lang="nb-NO" b="1" noProof="0" dirty="0">
                <a:solidFill>
                  <a:schemeClr val="accent2">
                    <a:lumMod val="50000"/>
                  </a:schemeClr>
                </a:solidFill>
              </a:rPr>
              <a:t>[eksempel] </a:t>
            </a:r>
          </a:p>
          <a:p>
            <a:pPr marL="342900" indent="-34290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noProof="0" dirty="0"/>
              <a:t>DHO-tjenesteteamet ser stor effekt i reduserte hjemmebesøk, samtidig som nødvendig data samles inn og registreres effektivt.</a:t>
            </a:r>
          </a:p>
          <a:p>
            <a:pPr marL="342900" indent="-34290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noProof="0" dirty="0"/>
              <a:t>Oppfølgingsteamet har implementert forbedrede protokoller som sikrer at målinger er konsistente og nøyaktige.</a:t>
            </a:r>
          </a:p>
          <a:p>
            <a:pPr marL="342900" indent="-34290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noProof="0" dirty="0"/>
              <a:t>Enklere rutiner og digital støtte gjør registreringen i journalen raskere og mer effektiv.</a:t>
            </a:r>
            <a:br>
              <a:rPr lang="nb-NO" noProof="0" dirty="0"/>
            </a:br>
            <a:endParaRPr kumimoji="0" lang="nb-NO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93960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23F635B0-484C-1D51-29B7-0D87400764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E023E595-578D-0971-5622-D4381AB90F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9270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23E595-578D-0971-5622-D4381AB90F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2817F19-2F45-FE1C-B753-31497CB3B450}"/>
              </a:ext>
            </a:extLst>
          </p:cNvPr>
          <p:cNvGrpSpPr/>
          <p:nvPr/>
        </p:nvGrpSpPr>
        <p:grpSpPr>
          <a:xfrm>
            <a:off x="987874" y="2482799"/>
            <a:ext cx="10274448" cy="3554953"/>
            <a:chOff x="878772" y="3977036"/>
            <a:chExt cx="10274448" cy="206063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C6DD15D-0D82-42D9-D73C-4E71DC947F11}"/>
                </a:ext>
              </a:extLst>
            </p:cNvPr>
            <p:cNvSpPr>
              <a:spLocks/>
            </p:cNvSpPr>
            <p:nvPr/>
          </p:nvSpPr>
          <p:spPr>
            <a:xfrm>
              <a:off x="7840992" y="3977036"/>
              <a:ext cx="3312228" cy="2060636"/>
            </a:xfrm>
            <a:prstGeom prst="rect">
              <a:avLst/>
            </a:prstGeom>
            <a:solidFill>
              <a:srgbClr val="CFD9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noProof="0" dirty="0">
                <a:latin typeface="+mj-lt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EF9C45F-A233-7E91-2233-66A13C446183}"/>
                </a:ext>
              </a:extLst>
            </p:cNvPr>
            <p:cNvSpPr>
              <a:spLocks/>
            </p:cNvSpPr>
            <p:nvPr/>
          </p:nvSpPr>
          <p:spPr>
            <a:xfrm>
              <a:off x="4356347" y="3977036"/>
              <a:ext cx="3312228" cy="2060636"/>
            </a:xfrm>
            <a:prstGeom prst="rect">
              <a:avLst/>
            </a:prstGeom>
            <a:solidFill>
              <a:srgbClr val="CFD9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noProof="0" dirty="0">
                <a:latin typeface="+mj-lt"/>
              </a:endParaRPr>
            </a:p>
          </p:txBody>
        </p:sp>
        <p:sp>
          <p:nvSpPr>
            <p:cNvPr id="10" name="Google Shape;733;p138">
              <a:extLst>
                <a:ext uri="{FF2B5EF4-FFF2-40B4-BE49-F238E27FC236}">
                  <a16:creationId xmlns:a16="http://schemas.microsoft.com/office/drawing/2014/main" id="{DAA736F5-0FB6-5832-C32D-CDD601FC2179}"/>
                </a:ext>
              </a:extLst>
            </p:cNvPr>
            <p:cNvSpPr txBox="1">
              <a:spLocks/>
            </p:cNvSpPr>
            <p:nvPr/>
          </p:nvSpPr>
          <p:spPr>
            <a:xfrm>
              <a:off x="4555828" y="4107354"/>
              <a:ext cx="3226968" cy="180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rm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nb-NO" b="1"/>
                <a:t>EKSEMPEL: </a:t>
              </a:r>
              <a:r>
                <a:rPr lang="nb-NO" b="1" noProof="0"/>
                <a:t>Effekt på kapasitet og kvalitet</a:t>
              </a:r>
              <a:endParaRPr lang="en-US"/>
            </a:p>
            <a:p>
              <a:pPr marL="171450" indent="-171450">
                <a:lnSpc>
                  <a:spcPct val="200000"/>
                </a:lnSpc>
                <a:buClr>
                  <a:srgbClr val="7BD2CD"/>
                </a:buClr>
                <a:buSzPct val="130000"/>
                <a:buFont typeface="Arial" panose="020B0604020202020204" pitchFamily="34" charset="0"/>
                <a:buChar char="•"/>
              </a:pPr>
              <a:r>
                <a:rPr lang="nb-NO" sz="1100" noProof="0" dirty="0"/>
                <a:t>Frigjort tid: 1 266 timer per år.</a:t>
              </a:r>
            </a:p>
            <a:p>
              <a:pPr marL="171450" indent="-171450">
                <a:lnSpc>
                  <a:spcPct val="200000"/>
                </a:lnSpc>
                <a:buClr>
                  <a:srgbClr val="7BD2CD"/>
                </a:buClr>
                <a:buSzPct val="130000"/>
                <a:buFont typeface="Arial" panose="020B0604020202020204" pitchFamily="34" charset="0"/>
                <a:buChar char="•"/>
              </a:pPr>
              <a:r>
                <a:rPr lang="nb-NO" sz="1100" noProof="0" dirty="0"/>
                <a:t>Hjemmebesøk: −25 %.</a:t>
              </a:r>
              <a:br>
                <a:rPr lang="nb-NO" sz="1100" noProof="0" dirty="0"/>
              </a:br>
              <a:endParaRPr lang="nb-NO" sz="1000" noProof="0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5393761-FAFE-B315-4634-C8FF099696CC}"/>
                </a:ext>
              </a:extLst>
            </p:cNvPr>
            <p:cNvSpPr>
              <a:spLocks/>
            </p:cNvSpPr>
            <p:nvPr/>
          </p:nvSpPr>
          <p:spPr>
            <a:xfrm>
              <a:off x="878772" y="3977036"/>
              <a:ext cx="3312228" cy="2060636"/>
            </a:xfrm>
            <a:prstGeom prst="rect">
              <a:avLst/>
            </a:prstGeom>
            <a:solidFill>
              <a:srgbClr val="CFD9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noProof="0" dirty="0">
                <a:latin typeface="+mj-lt"/>
              </a:endParaRPr>
            </a:p>
          </p:txBody>
        </p:sp>
        <p:sp>
          <p:nvSpPr>
            <p:cNvPr id="12" name="Google Shape;733;p138">
              <a:extLst>
                <a:ext uri="{FF2B5EF4-FFF2-40B4-BE49-F238E27FC236}">
                  <a16:creationId xmlns:a16="http://schemas.microsoft.com/office/drawing/2014/main" id="{B847D248-BE12-B164-8F9A-F126FC493D94}"/>
                </a:ext>
              </a:extLst>
            </p:cNvPr>
            <p:cNvSpPr txBox="1">
              <a:spLocks/>
            </p:cNvSpPr>
            <p:nvPr/>
          </p:nvSpPr>
          <p:spPr>
            <a:xfrm>
              <a:off x="1025623" y="4107354"/>
              <a:ext cx="3115378" cy="180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rm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7BD2CD"/>
                </a:buClr>
                <a:buSzPct val="130000"/>
              </a:pPr>
              <a:r>
                <a:rPr lang="nb-NO" b="1"/>
                <a:t>EKSEMPEL: Effekter</a:t>
              </a:r>
              <a:r>
                <a:rPr lang="nb-NO" b="1" noProof="0"/>
                <a:t> for pasienter</a:t>
              </a:r>
            </a:p>
            <a:p>
              <a:pPr marL="171450" indent="-171450">
                <a:lnSpc>
                  <a:spcPct val="200000"/>
                </a:lnSpc>
                <a:buClr>
                  <a:srgbClr val="7BD2CD"/>
                </a:buClr>
                <a:buSzPct val="130000"/>
                <a:buFont typeface="Arial" panose="020B0604020202020204" pitchFamily="34" charset="0"/>
                <a:buChar char="•"/>
              </a:pPr>
              <a:r>
                <a:rPr lang="nb-NO" sz="1100" noProof="0" dirty="0"/>
                <a:t>92 % av målingene vurderes innen 24 timer.</a:t>
              </a:r>
            </a:p>
            <a:p>
              <a:pPr marL="171450" indent="-171450">
                <a:lnSpc>
                  <a:spcPct val="200000"/>
                </a:lnSpc>
                <a:buClr>
                  <a:srgbClr val="7BD2CD"/>
                </a:buClr>
                <a:buSzPct val="130000"/>
                <a:buFont typeface="Arial" panose="020B0604020202020204" pitchFamily="34" charset="0"/>
                <a:buChar char="•"/>
              </a:pPr>
              <a:r>
                <a:rPr lang="nb-NO" sz="1100" noProof="0" dirty="0"/>
                <a:t>Uplanlagte kontakter/innleggelser: −18 %.</a:t>
              </a:r>
            </a:p>
            <a:p>
              <a:pPr>
                <a:lnSpc>
                  <a:spcPct val="150000"/>
                </a:lnSpc>
                <a:buClr>
                  <a:srgbClr val="7BD2CD"/>
                </a:buClr>
                <a:buSzPct val="130000"/>
              </a:pPr>
              <a:br>
                <a:rPr lang="nb-NO" sz="1000" noProof="0" dirty="0"/>
              </a:br>
              <a:br>
                <a:rPr lang="nb-NO" sz="1000" noProof="0" dirty="0"/>
              </a:br>
              <a:r>
                <a:rPr lang="nb-NO" sz="1000" noProof="0" dirty="0"/>
                <a:t> </a:t>
              </a:r>
            </a:p>
          </p:txBody>
        </p:sp>
        <p:sp>
          <p:nvSpPr>
            <p:cNvPr id="13" name="Google Shape;733;p138">
              <a:extLst>
                <a:ext uri="{FF2B5EF4-FFF2-40B4-BE49-F238E27FC236}">
                  <a16:creationId xmlns:a16="http://schemas.microsoft.com/office/drawing/2014/main" id="{DDE259E3-95B9-8B09-A694-9311B777256F}"/>
                </a:ext>
              </a:extLst>
            </p:cNvPr>
            <p:cNvSpPr txBox="1">
              <a:spLocks/>
            </p:cNvSpPr>
            <p:nvPr/>
          </p:nvSpPr>
          <p:spPr>
            <a:xfrm>
              <a:off x="7996039" y="4107354"/>
              <a:ext cx="3098985" cy="180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rm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nb-NO" b="1"/>
                <a:t>EKSEMPEL: </a:t>
              </a:r>
              <a:r>
                <a:rPr lang="nb-NO" b="1" noProof="0"/>
                <a:t>Økonomisk effekt (hvis beregnet)</a:t>
              </a:r>
              <a:endParaRPr lang="en-US"/>
            </a:p>
            <a:p>
              <a:pPr marL="171450" indent="-171450">
                <a:lnSpc>
                  <a:spcPct val="220000"/>
                </a:lnSpc>
                <a:buClr>
                  <a:srgbClr val="7BD2CD"/>
                </a:buClr>
                <a:buSzPct val="130000"/>
                <a:buFont typeface="Arial" panose="020B0604020202020204" pitchFamily="34" charset="0"/>
                <a:buChar char="•"/>
              </a:pPr>
              <a:r>
                <a:rPr lang="nb-NO" sz="1100" noProof="0" dirty="0"/>
                <a:t>Kostnadsunngåelse: 420 000 kr denne perioden.</a:t>
              </a:r>
            </a:p>
            <a:p>
              <a:pPr marL="171450" indent="-171450">
                <a:lnSpc>
                  <a:spcPct val="220000"/>
                </a:lnSpc>
                <a:buClr>
                  <a:srgbClr val="7BD2CD"/>
                </a:buClr>
                <a:buSzPct val="130000"/>
                <a:buFont typeface="Arial" panose="020B0604020202020204" pitchFamily="34" charset="0"/>
                <a:buChar char="•"/>
              </a:pPr>
              <a:r>
                <a:rPr lang="nb-NO" sz="1100" noProof="0" dirty="0"/>
                <a:t>Pasienter per ansatt: 24.</a:t>
              </a:r>
            </a:p>
            <a:p>
              <a:pPr>
                <a:lnSpc>
                  <a:spcPct val="150000"/>
                </a:lnSpc>
                <a:buClr>
                  <a:srgbClr val="7BD2CD"/>
                </a:buClr>
                <a:buSzPct val="130000"/>
              </a:pPr>
              <a:br>
                <a:rPr lang="nb-NO" sz="1000" noProof="0" dirty="0"/>
              </a:br>
              <a:br>
                <a:rPr lang="nb-NO" sz="1000" noProof="0" dirty="0"/>
              </a:br>
              <a:r>
                <a:rPr lang="nb-NO" sz="1000" noProof="0" dirty="0"/>
                <a:t> </a:t>
              </a:r>
            </a:p>
          </p:txBody>
        </p:sp>
      </p:grpSp>
      <p:sp>
        <p:nvSpPr>
          <p:cNvPr id="5" name="Google Shape;749;g3376fdc34da_0_802">
            <a:extLst>
              <a:ext uri="{FF2B5EF4-FFF2-40B4-BE49-F238E27FC236}">
                <a16:creationId xmlns:a16="http://schemas.microsoft.com/office/drawing/2014/main" id="{2434D72D-0F65-AB93-B7E5-B38FD9EAF32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6831" y="609233"/>
            <a:ext cx="7293219" cy="59291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[Figurbokser til visualisering]</a:t>
            </a:r>
          </a:p>
        </p:txBody>
      </p:sp>
      <p:sp>
        <p:nvSpPr>
          <p:cNvPr id="6" name="Google Shape;733;p138">
            <a:extLst>
              <a:ext uri="{FF2B5EF4-FFF2-40B4-BE49-F238E27FC236}">
                <a16:creationId xmlns:a16="http://schemas.microsoft.com/office/drawing/2014/main" id="{1F84A285-54EC-E2B5-C40A-F77C8B280D2A}"/>
              </a:ext>
            </a:extLst>
          </p:cNvPr>
          <p:cNvSpPr txBox="1">
            <a:spLocks/>
          </p:cNvSpPr>
          <p:nvPr/>
        </p:nvSpPr>
        <p:spPr>
          <a:xfrm>
            <a:off x="1013437" y="1456295"/>
            <a:ext cx="10216252" cy="7723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kumimoji="0" lang="nb-NO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orklaring til figurer</a:t>
            </a:r>
            <a:endParaRPr kumimoji="0" lang="nb-NO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61815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4D64ED5D-22D6-9FB0-118F-B1D00B7A6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2035932A-6C44-6755-88D5-3E5F9736F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183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35932A-6C44-6755-88D5-3E5F9736F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010DC872-B72E-B7AB-D388-EDEC5EC9AA2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6831" y="609233"/>
            <a:ext cx="8056951" cy="59291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Dette skal vi bli bedre på og følge opp</a:t>
            </a:r>
          </a:p>
        </p:txBody>
      </p:sp>
      <p:sp>
        <p:nvSpPr>
          <p:cNvPr id="3" name="Google Shape;733;p138">
            <a:extLst>
              <a:ext uri="{FF2B5EF4-FFF2-40B4-BE49-F238E27FC236}">
                <a16:creationId xmlns:a16="http://schemas.microsoft.com/office/drawing/2014/main" id="{C2567E79-43A9-A522-69FA-EFF83A29B64C}"/>
              </a:ext>
            </a:extLst>
          </p:cNvPr>
          <p:cNvSpPr txBox="1">
            <a:spLocks/>
          </p:cNvSpPr>
          <p:nvPr/>
        </p:nvSpPr>
        <p:spPr>
          <a:xfrm>
            <a:off x="865195" y="1587777"/>
            <a:ext cx="5827007" cy="4660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200000"/>
              </a:lnSpc>
              <a:buClr>
                <a:srgbClr val="7BD2CD"/>
              </a:buClr>
              <a:buSzPct val="130000"/>
            </a:pPr>
            <a:r>
              <a:rPr lang="nb-NO" b="1" noProof="0" dirty="0">
                <a:solidFill>
                  <a:schemeClr val="accent2">
                    <a:lumMod val="50000"/>
                  </a:schemeClr>
                </a:solidFill>
              </a:rPr>
              <a:t>[eksempel] </a:t>
            </a:r>
          </a:p>
          <a:p>
            <a:pPr marL="342900" indent="-342900">
              <a:lnSpc>
                <a:spcPct val="19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noProof="0" dirty="0"/>
              <a:t>Det er nødvendig med ekstra fokus for å sikre at alle målinger blir korrekt registrert og datakvaliteten opprettholdes.</a:t>
            </a:r>
          </a:p>
          <a:p>
            <a:pPr marL="342900" indent="-342900">
              <a:lnSpc>
                <a:spcPct val="19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noProof="0" dirty="0"/>
              <a:t>Noen team oppnår bedre resultater – vi må lære fra beste praksis og sikre lik oppfølging.</a:t>
            </a:r>
          </a:p>
          <a:p>
            <a:pPr marL="342900" indent="-342900">
              <a:lnSpc>
                <a:spcPct val="19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noProof="0" dirty="0"/>
              <a:t>Enkel opplæring og veiledning kan hjelpe ansatte som strever med å bruke digitale verktøy effektivt.</a:t>
            </a:r>
          </a:p>
          <a:p>
            <a:pPr>
              <a:lnSpc>
                <a:spcPct val="200000"/>
              </a:lnSpc>
              <a:buClr>
                <a:srgbClr val="7BD2CD"/>
              </a:buClr>
              <a:buSzPct val="130000"/>
            </a:pPr>
            <a:endParaRPr kumimoji="0" lang="nb-NO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2551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8A0BF"/>
        </a:solidFill>
        <a:effectLst/>
      </p:bgPr>
    </p:bg>
    <p:spTree>
      <p:nvGrpSpPr>
        <p:cNvPr id="1" name="Shape 701">
          <a:extLst>
            <a:ext uri="{FF2B5EF4-FFF2-40B4-BE49-F238E27FC236}">
              <a16:creationId xmlns:a16="http://schemas.microsoft.com/office/drawing/2014/main" id="{AFD2F753-2486-E269-7455-2775B0F468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390D4CC-528D-10FC-2520-11105E66C1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64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90D4CC-528D-10FC-2520-11105E66C1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7" name="Slide Number Placeholder 1266">
            <a:extLst>
              <a:ext uri="{FF2B5EF4-FFF2-40B4-BE49-F238E27FC236}">
                <a16:creationId xmlns:a16="http://schemas.microsoft.com/office/drawing/2014/main" id="{591C64F6-D703-6978-52D5-663A79C5CD8E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041937" y="6217640"/>
            <a:ext cx="2743200" cy="365200"/>
          </a:xfrm>
        </p:spPr>
        <p:txBody>
          <a:bodyPr/>
          <a:lstStyle/>
          <a:p>
            <a:pPr marL="0" lvl="0" indent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b-NO" noProof="0" smtClean="0"/>
              <a:pPr marL="0" lvl="0" indent="0" algn="r">
                <a:spcBef>
                  <a:spcPts val="0"/>
                </a:spcBef>
                <a:spcAft>
                  <a:spcPts val="0"/>
                </a:spcAft>
                <a:buNone/>
              </a:pPr>
              <a:t>2</a:t>
            </a:fld>
            <a:endParaRPr lang="nb-NO" noProof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6D802C-E277-0C69-CA44-6E843C46267D}"/>
              </a:ext>
            </a:extLst>
          </p:cNvPr>
          <p:cNvSpPr>
            <a:spLocks/>
          </p:cNvSpPr>
          <p:nvPr/>
        </p:nvSpPr>
        <p:spPr>
          <a:xfrm>
            <a:off x="1313900" y="1249431"/>
            <a:ext cx="9564200" cy="4359137"/>
          </a:xfrm>
          <a:prstGeom prst="rect">
            <a:avLst/>
          </a:prstGeom>
          <a:solidFill>
            <a:srgbClr val="CFD9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latin typeface="+mj-lt"/>
            </a:endParaRPr>
          </a:p>
        </p:txBody>
      </p:sp>
      <p:sp>
        <p:nvSpPr>
          <p:cNvPr id="10" name="Google Shape;733;p138">
            <a:extLst>
              <a:ext uri="{FF2B5EF4-FFF2-40B4-BE49-F238E27FC236}">
                <a16:creationId xmlns:a16="http://schemas.microsoft.com/office/drawing/2014/main" id="{CB424C57-8416-566D-C5C0-08FB23FD3121}"/>
              </a:ext>
            </a:extLst>
          </p:cNvPr>
          <p:cNvSpPr txBox="1">
            <a:spLocks/>
          </p:cNvSpPr>
          <p:nvPr/>
        </p:nvSpPr>
        <p:spPr>
          <a:xfrm>
            <a:off x="1926298" y="2398333"/>
            <a:ext cx="8526336" cy="2448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r>
              <a:rPr lang="nb-NO" noProof="0" dirty="0"/>
              <a:t>Dette gevinstverktøyet er laget for å følge opp gevinster tilknyttet digital hjemmeoppfølging (DHO). Verktøyet er laget for å gjøre det enklere for helsepersonell, administrasjon og styringsgruppe å beholde en strukturert tilnærming til arbeidet, og gi innsikt i hvorvidt DHO fører til forventede gevinster. </a:t>
            </a:r>
            <a:br>
              <a:rPr lang="nb-NO" noProof="0" dirty="0"/>
            </a:br>
            <a:endParaRPr lang="nb-NO" noProof="0" dirty="0"/>
          </a:p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r>
              <a:rPr lang="nb-NO" noProof="0" dirty="0"/>
              <a:t>Verktøyet gir beslutningsstøtte for oppfølging og læring, men skal ikke brukes alene som grunnlag for investeringsbeslutninger. Dette må ses i sammenheng med andre kvantitative og kvalitative undersøkelser, og et helhetlig ressurs-, kvalitets- og kostnadsbilde.</a:t>
            </a: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F72C052-3111-42E8-F829-FDCA62B9D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748" y="1624463"/>
            <a:ext cx="673100" cy="584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49418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6E1C92C1-EB83-60D1-B328-1929B1F4F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564D2B9-608B-B680-48EC-8E8F3A8867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574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64D2B9-608B-B680-48EC-8E8F3A886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6C02336E-7B6E-C368-1461-4F60C398000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Agenda</a:t>
            </a:r>
          </a:p>
        </p:txBody>
      </p:sp>
      <p:grpSp>
        <p:nvGrpSpPr>
          <p:cNvPr id="46" name="Google Shape;910;p142">
            <a:extLst>
              <a:ext uri="{FF2B5EF4-FFF2-40B4-BE49-F238E27FC236}">
                <a16:creationId xmlns:a16="http://schemas.microsoft.com/office/drawing/2014/main" id="{E88D46C3-0826-88ED-E3E8-83B07D530EFC}"/>
              </a:ext>
            </a:extLst>
          </p:cNvPr>
          <p:cNvGrpSpPr/>
          <p:nvPr/>
        </p:nvGrpSpPr>
        <p:grpSpPr>
          <a:xfrm>
            <a:off x="634510" y="4711885"/>
            <a:ext cx="4464901" cy="1949820"/>
            <a:chOff x="911954" y="5208246"/>
            <a:chExt cx="4592260" cy="1895237"/>
          </a:xfrm>
        </p:grpSpPr>
        <p:grpSp>
          <p:nvGrpSpPr>
            <p:cNvPr id="47" name="Google Shape;911;p142">
              <a:extLst>
                <a:ext uri="{FF2B5EF4-FFF2-40B4-BE49-F238E27FC236}">
                  <a16:creationId xmlns:a16="http://schemas.microsoft.com/office/drawing/2014/main" id="{C52149BF-CCEB-F6DA-FD6C-92B911DBE143}"/>
                </a:ext>
              </a:extLst>
            </p:cNvPr>
            <p:cNvGrpSpPr/>
            <p:nvPr/>
          </p:nvGrpSpPr>
          <p:grpSpPr>
            <a:xfrm>
              <a:off x="2283262" y="5366510"/>
              <a:ext cx="1181059" cy="1736617"/>
              <a:chOff x="10817155" y="1978433"/>
              <a:chExt cx="769269" cy="1131125"/>
            </a:xfrm>
          </p:grpSpPr>
          <p:sp>
            <p:nvSpPr>
              <p:cNvPr id="1229" name="Google Shape;912;p142">
                <a:extLst>
                  <a:ext uri="{FF2B5EF4-FFF2-40B4-BE49-F238E27FC236}">
                    <a16:creationId xmlns:a16="http://schemas.microsoft.com/office/drawing/2014/main" id="{444F95E3-69B3-6C22-1C43-B908F4BE2BF0}"/>
                  </a:ext>
                </a:extLst>
              </p:cNvPr>
              <p:cNvSpPr/>
              <p:nvPr/>
            </p:nvSpPr>
            <p:spPr>
              <a:xfrm>
                <a:off x="11194862" y="2779973"/>
                <a:ext cx="116095" cy="329585"/>
              </a:xfrm>
              <a:custGeom>
                <a:avLst/>
                <a:gdLst/>
                <a:ahLst/>
                <a:cxnLst/>
                <a:rect l="l" t="t" r="r" b="b"/>
                <a:pathLst>
                  <a:path w="9946" h="28230" extrusionOk="0">
                    <a:moveTo>
                      <a:pt x="1298" y="0"/>
                    </a:moveTo>
                    <a:lnTo>
                      <a:pt x="1" y="28229"/>
                    </a:lnTo>
                    <a:lnTo>
                      <a:pt x="9946" y="28229"/>
                    </a:lnTo>
                    <a:lnTo>
                      <a:pt x="8710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0" name="Google Shape;913;p142">
                <a:extLst>
                  <a:ext uri="{FF2B5EF4-FFF2-40B4-BE49-F238E27FC236}">
                    <a16:creationId xmlns:a16="http://schemas.microsoft.com/office/drawing/2014/main" id="{05123159-590A-3ED2-FAE3-500C19BE313B}"/>
                  </a:ext>
                </a:extLst>
              </p:cNvPr>
              <p:cNvSpPr/>
              <p:nvPr/>
            </p:nvSpPr>
            <p:spPr>
              <a:xfrm>
                <a:off x="11123503" y="2656710"/>
                <a:ext cx="123308" cy="123335"/>
              </a:xfrm>
              <a:custGeom>
                <a:avLst/>
                <a:gdLst/>
                <a:ahLst/>
                <a:cxnLst/>
                <a:rect l="l" t="t" r="r" b="b"/>
                <a:pathLst>
                  <a:path w="10564" h="10564" extrusionOk="0">
                    <a:moveTo>
                      <a:pt x="0" y="1"/>
                    </a:moveTo>
                    <a:lnTo>
                      <a:pt x="309" y="186"/>
                    </a:lnTo>
                    <a:lnTo>
                      <a:pt x="1174" y="742"/>
                    </a:lnTo>
                    <a:lnTo>
                      <a:pt x="2348" y="1669"/>
                    </a:lnTo>
                    <a:lnTo>
                      <a:pt x="2965" y="2286"/>
                    </a:lnTo>
                    <a:lnTo>
                      <a:pt x="3645" y="2904"/>
                    </a:lnTo>
                    <a:lnTo>
                      <a:pt x="4324" y="3645"/>
                    </a:lnTo>
                    <a:lnTo>
                      <a:pt x="5004" y="4448"/>
                    </a:lnTo>
                    <a:lnTo>
                      <a:pt x="5622" y="5313"/>
                    </a:lnTo>
                    <a:lnTo>
                      <a:pt x="6177" y="6301"/>
                    </a:lnTo>
                    <a:lnTo>
                      <a:pt x="6672" y="7290"/>
                    </a:lnTo>
                    <a:lnTo>
                      <a:pt x="7042" y="8340"/>
                    </a:lnTo>
                    <a:lnTo>
                      <a:pt x="7289" y="9390"/>
                    </a:lnTo>
                    <a:lnTo>
                      <a:pt x="7351" y="10008"/>
                    </a:lnTo>
                    <a:lnTo>
                      <a:pt x="7413" y="10563"/>
                    </a:lnTo>
                    <a:lnTo>
                      <a:pt x="10563" y="10563"/>
                    </a:lnTo>
                    <a:lnTo>
                      <a:pt x="10378" y="10193"/>
                    </a:lnTo>
                    <a:lnTo>
                      <a:pt x="10007" y="9081"/>
                    </a:lnTo>
                    <a:lnTo>
                      <a:pt x="9637" y="8340"/>
                    </a:lnTo>
                    <a:lnTo>
                      <a:pt x="9266" y="7537"/>
                    </a:lnTo>
                    <a:lnTo>
                      <a:pt x="8772" y="6610"/>
                    </a:lnTo>
                    <a:lnTo>
                      <a:pt x="8216" y="5684"/>
                    </a:lnTo>
                    <a:lnTo>
                      <a:pt x="7536" y="4757"/>
                    </a:lnTo>
                    <a:lnTo>
                      <a:pt x="6795" y="3831"/>
                    </a:lnTo>
                    <a:lnTo>
                      <a:pt x="5930" y="2904"/>
                    </a:lnTo>
                    <a:lnTo>
                      <a:pt x="4942" y="2101"/>
                    </a:lnTo>
                    <a:lnTo>
                      <a:pt x="4448" y="1730"/>
                    </a:lnTo>
                    <a:lnTo>
                      <a:pt x="3892" y="1360"/>
                    </a:lnTo>
                    <a:lnTo>
                      <a:pt x="3336" y="1051"/>
                    </a:lnTo>
                    <a:lnTo>
                      <a:pt x="2718" y="742"/>
                    </a:lnTo>
                    <a:lnTo>
                      <a:pt x="2101" y="495"/>
                    </a:lnTo>
                    <a:lnTo>
                      <a:pt x="1421" y="310"/>
                    </a:lnTo>
                    <a:lnTo>
                      <a:pt x="742" y="124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1" name="Google Shape;914;p142">
                <a:extLst>
                  <a:ext uri="{FF2B5EF4-FFF2-40B4-BE49-F238E27FC236}">
                    <a16:creationId xmlns:a16="http://schemas.microsoft.com/office/drawing/2014/main" id="{99150E27-5971-4057-F316-A8ECEB2885E5}"/>
                  </a:ext>
                </a:extLst>
              </p:cNvPr>
              <p:cNvSpPr/>
              <p:nvPr/>
            </p:nvSpPr>
            <p:spPr>
              <a:xfrm>
                <a:off x="11123503" y="2656710"/>
                <a:ext cx="123308" cy="123335"/>
              </a:xfrm>
              <a:custGeom>
                <a:avLst/>
                <a:gdLst/>
                <a:ahLst/>
                <a:cxnLst/>
                <a:rect l="l" t="t" r="r" b="b"/>
                <a:pathLst>
                  <a:path w="10564" h="10564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309" y="186"/>
                    </a:lnTo>
                    <a:lnTo>
                      <a:pt x="1174" y="742"/>
                    </a:lnTo>
                    <a:lnTo>
                      <a:pt x="2348" y="1669"/>
                    </a:lnTo>
                    <a:lnTo>
                      <a:pt x="2965" y="2286"/>
                    </a:lnTo>
                    <a:lnTo>
                      <a:pt x="3645" y="2904"/>
                    </a:lnTo>
                    <a:lnTo>
                      <a:pt x="4324" y="3645"/>
                    </a:lnTo>
                    <a:lnTo>
                      <a:pt x="5004" y="4448"/>
                    </a:lnTo>
                    <a:lnTo>
                      <a:pt x="5622" y="5313"/>
                    </a:lnTo>
                    <a:lnTo>
                      <a:pt x="6177" y="6301"/>
                    </a:lnTo>
                    <a:lnTo>
                      <a:pt x="6672" y="7290"/>
                    </a:lnTo>
                    <a:lnTo>
                      <a:pt x="7042" y="8340"/>
                    </a:lnTo>
                    <a:lnTo>
                      <a:pt x="7289" y="9390"/>
                    </a:lnTo>
                    <a:lnTo>
                      <a:pt x="7351" y="10008"/>
                    </a:lnTo>
                    <a:lnTo>
                      <a:pt x="7413" y="10563"/>
                    </a:lnTo>
                    <a:lnTo>
                      <a:pt x="10563" y="10563"/>
                    </a:lnTo>
                    <a:lnTo>
                      <a:pt x="10563" y="10563"/>
                    </a:lnTo>
                    <a:lnTo>
                      <a:pt x="10378" y="10193"/>
                    </a:lnTo>
                    <a:lnTo>
                      <a:pt x="10007" y="9081"/>
                    </a:lnTo>
                    <a:lnTo>
                      <a:pt x="9637" y="8340"/>
                    </a:lnTo>
                    <a:lnTo>
                      <a:pt x="9266" y="7537"/>
                    </a:lnTo>
                    <a:lnTo>
                      <a:pt x="8772" y="6610"/>
                    </a:lnTo>
                    <a:lnTo>
                      <a:pt x="8216" y="5684"/>
                    </a:lnTo>
                    <a:lnTo>
                      <a:pt x="7536" y="4757"/>
                    </a:lnTo>
                    <a:lnTo>
                      <a:pt x="6795" y="3831"/>
                    </a:lnTo>
                    <a:lnTo>
                      <a:pt x="5930" y="2904"/>
                    </a:lnTo>
                    <a:lnTo>
                      <a:pt x="4942" y="2101"/>
                    </a:lnTo>
                    <a:lnTo>
                      <a:pt x="4448" y="1730"/>
                    </a:lnTo>
                    <a:lnTo>
                      <a:pt x="3892" y="1360"/>
                    </a:lnTo>
                    <a:lnTo>
                      <a:pt x="3336" y="1051"/>
                    </a:lnTo>
                    <a:lnTo>
                      <a:pt x="2718" y="742"/>
                    </a:lnTo>
                    <a:lnTo>
                      <a:pt x="2101" y="495"/>
                    </a:lnTo>
                    <a:lnTo>
                      <a:pt x="1421" y="310"/>
                    </a:lnTo>
                    <a:lnTo>
                      <a:pt x="742" y="124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2" name="Google Shape;915;p142">
                <a:extLst>
                  <a:ext uri="{FF2B5EF4-FFF2-40B4-BE49-F238E27FC236}">
                    <a16:creationId xmlns:a16="http://schemas.microsoft.com/office/drawing/2014/main" id="{36463022-BCCE-2339-E55C-25297F62F3C8}"/>
                  </a:ext>
                </a:extLst>
              </p:cNvPr>
              <p:cNvSpPr/>
              <p:nvPr/>
            </p:nvSpPr>
            <p:spPr>
              <a:xfrm>
                <a:off x="11228739" y="2663198"/>
                <a:ext cx="55538" cy="120451"/>
              </a:xfrm>
              <a:custGeom>
                <a:avLst/>
                <a:gdLst/>
                <a:ahLst/>
                <a:cxnLst/>
                <a:rect l="l" t="t" r="r" b="b"/>
                <a:pathLst>
                  <a:path w="4758" h="10317" extrusionOk="0">
                    <a:moveTo>
                      <a:pt x="1" y="1"/>
                    </a:moveTo>
                    <a:lnTo>
                      <a:pt x="680" y="557"/>
                    </a:lnTo>
                    <a:lnTo>
                      <a:pt x="1236" y="1113"/>
                    </a:lnTo>
                    <a:lnTo>
                      <a:pt x="1669" y="1730"/>
                    </a:lnTo>
                    <a:lnTo>
                      <a:pt x="2039" y="2410"/>
                    </a:lnTo>
                    <a:lnTo>
                      <a:pt x="2286" y="3089"/>
                    </a:lnTo>
                    <a:lnTo>
                      <a:pt x="2472" y="3830"/>
                    </a:lnTo>
                    <a:lnTo>
                      <a:pt x="2534" y="4510"/>
                    </a:lnTo>
                    <a:lnTo>
                      <a:pt x="2595" y="5189"/>
                    </a:lnTo>
                    <a:lnTo>
                      <a:pt x="2595" y="5869"/>
                    </a:lnTo>
                    <a:lnTo>
                      <a:pt x="2534" y="6487"/>
                    </a:lnTo>
                    <a:lnTo>
                      <a:pt x="2410" y="7537"/>
                    </a:lnTo>
                    <a:lnTo>
                      <a:pt x="2286" y="8216"/>
                    </a:lnTo>
                    <a:lnTo>
                      <a:pt x="2163" y="8463"/>
                    </a:lnTo>
                    <a:lnTo>
                      <a:pt x="3954" y="10316"/>
                    </a:lnTo>
                    <a:lnTo>
                      <a:pt x="4757" y="5004"/>
                    </a:lnTo>
                    <a:lnTo>
                      <a:pt x="4510" y="4201"/>
                    </a:lnTo>
                    <a:lnTo>
                      <a:pt x="4201" y="3522"/>
                    </a:lnTo>
                    <a:lnTo>
                      <a:pt x="3892" y="2904"/>
                    </a:lnTo>
                    <a:lnTo>
                      <a:pt x="3522" y="2348"/>
                    </a:lnTo>
                    <a:lnTo>
                      <a:pt x="3151" y="1854"/>
                    </a:lnTo>
                    <a:lnTo>
                      <a:pt x="2719" y="1421"/>
                    </a:lnTo>
                    <a:lnTo>
                      <a:pt x="2348" y="1113"/>
                    </a:lnTo>
                    <a:lnTo>
                      <a:pt x="1916" y="804"/>
                    </a:lnTo>
                    <a:lnTo>
                      <a:pt x="1175" y="433"/>
                    </a:lnTo>
                    <a:lnTo>
                      <a:pt x="557" y="186"/>
                    </a:lnTo>
                    <a:lnTo>
                      <a:pt x="124" y="6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3" name="Google Shape;916;p142">
                <a:extLst>
                  <a:ext uri="{FF2B5EF4-FFF2-40B4-BE49-F238E27FC236}">
                    <a16:creationId xmlns:a16="http://schemas.microsoft.com/office/drawing/2014/main" id="{C2517709-19A8-349C-7793-E9434FCB6BCA}"/>
                  </a:ext>
                </a:extLst>
              </p:cNvPr>
              <p:cNvSpPr/>
              <p:nvPr/>
            </p:nvSpPr>
            <p:spPr>
              <a:xfrm>
                <a:off x="11228739" y="2663198"/>
                <a:ext cx="55538" cy="120451"/>
              </a:xfrm>
              <a:custGeom>
                <a:avLst/>
                <a:gdLst/>
                <a:ahLst/>
                <a:cxnLst/>
                <a:rect l="l" t="t" r="r" b="b"/>
                <a:pathLst>
                  <a:path w="4758" h="10317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680" y="557"/>
                    </a:lnTo>
                    <a:lnTo>
                      <a:pt x="1236" y="1113"/>
                    </a:lnTo>
                    <a:lnTo>
                      <a:pt x="1669" y="1730"/>
                    </a:lnTo>
                    <a:lnTo>
                      <a:pt x="2039" y="2410"/>
                    </a:lnTo>
                    <a:lnTo>
                      <a:pt x="2286" y="3089"/>
                    </a:lnTo>
                    <a:lnTo>
                      <a:pt x="2472" y="3830"/>
                    </a:lnTo>
                    <a:lnTo>
                      <a:pt x="2534" y="4510"/>
                    </a:lnTo>
                    <a:lnTo>
                      <a:pt x="2595" y="5189"/>
                    </a:lnTo>
                    <a:lnTo>
                      <a:pt x="2595" y="5869"/>
                    </a:lnTo>
                    <a:lnTo>
                      <a:pt x="2534" y="6487"/>
                    </a:lnTo>
                    <a:lnTo>
                      <a:pt x="2410" y="7537"/>
                    </a:lnTo>
                    <a:lnTo>
                      <a:pt x="2286" y="8216"/>
                    </a:lnTo>
                    <a:lnTo>
                      <a:pt x="2163" y="8463"/>
                    </a:lnTo>
                    <a:lnTo>
                      <a:pt x="3954" y="10316"/>
                    </a:lnTo>
                    <a:lnTo>
                      <a:pt x="4757" y="5004"/>
                    </a:lnTo>
                    <a:lnTo>
                      <a:pt x="4757" y="5004"/>
                    </a:lnTo>
                    <a:lnTo>
                      <a:pt x="4510" y="4201"/>
                    </a:lnTo>
                    <a:lnTo>
                      <a:pt x="4201" y="3522"/>
                    </a:lnTo>
                    <a:lnTo>
                      <a:pt x="3892" y="2904"/>
                    </a:lnTo>
                    <a:lnTo>
                      <a:pt x="3522" y="2348"/>
                    </a:lnTo>
                    <a:lnTo>
                      <a:pt x="3151" y="1854"/>
                    </a:lnTo>
                    <a:lnTo>
                      <a:pt x="2719" y="1421"/>
                    </a:lnTo>
                    <a:lnTo>
                      <a:pt x="2348" y="1113"/>
                    </a:lnTo>
                    <a:lnTo>
                      <a:pt x="1916" y="804"/>
                    </a:lnTo>
                    <a:lnTo>
                      <a:pt x="1175" y="433"/>
                    </a:lnTo>
                    <a:lnTo>
                      <a:pt x="557" y="186"/>
                    </a:lnTo>
                    <a:lnTo>
                      <a:pt x="124" y="63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4" name="Google Shape;917;p142">
                <a:extLst>
                  <a:ext uri="{FF2B5EF4-FFF2-40B4-BE49-F238E27FC236}">
                    <a16:creationId xmlns:a16="http://schemas.microsoft.com/office/drawing/2014/main" id="{C845BEE5-AD2F-D298-6B28-B6BCAE26A5C8}"/>
                  </a:ext>
                </a:extLst>
              </p:cNvPr>
              <p:cNvSpPr/>
              <p:nvPr/>
            </p:nvSpPr>
            <p:spPr>
              <a:xfrm>
                <a:off x="11224421" y="2741044"/>
                <a:ext cx="59857" cy="72852"/>
              </a:xfrm>
              <a:custGeom>
                <a:avLst/>
                <a:gdLst/>
                <a:ahLst/>
                <a:cxnLst/>
                <a:rect l="l" t="t" r="r" b="b"/>
                <a:pathLst>
                  <a:path w="5128" h="6240" extrusionOk="0">
                    <a:moveTo>
                      <a:pt x="371" y="1"/>
                    </a:moveTo>
                    <a:lnTo>
                      <a:pt x="247" y="3028"/>
                    </a:lnTo>
                    <a:lnTo>
                      <a:pt x="124" y="5190"/>
                    </a:lnTo>
                    <a:lnTo>
                      <a:pt x="0" y="6178"/>
                    </a:lnTo>
                    <a:lnTo>
                      <a:pt x="247" y="6178"/>
                    </a:lnTo>
                    <a:lnTo>
                      <a:pt x="803" y="6240"/>
                    </a:lnTo>
                    <a:lnTo>
                      <a:pt x="2533" y="6240"/>
                    </a:lnTo>
                    <a:lnTo>
                      <a:pt x="5127" y="6178"/>
                    </a:lnTo>
                    <a:lnTo>
                      <a:pt x="2904" y="1"/>
                    </a:lnTo>
                    <a:lnTo>
                      <a:pt x="2656" y="372"/>
                    </a:lnTo>
                    <a:lnTo>
                      <a:pt x="2409" y="619"/>
                    </a:lnTo>
                    <a:lnTo>
                      <a:pt x="2162" y="866"/>
                    </a:lnTo>
                    <a:lnTo>
                      <a:pt x="1915" y="927"/>
                    </a:lnTo>
                    <a:lnTo>
                      <a:pt x="1668" y="989"/>
                    </a:lnTo>
                    <a:lnTo>
                      <a:pt x="1483" y="989"/>
                    </a:lnTo>
                    <a:lnTo>
                      <a:pt x="1297" y="927"/>
                    </a:lnTo>
                    <a:lnTo>
                      <a:pt x="1112" y="866"/>
                    </a:lnTo>
                    <a:lnTo>
                      <a:pt x="803" y="619"/>
                    </a:lnTo>
                    <a:lnTo>
                      <a:pt x="556" y="310"/>
                    </a:lnTo>
                    <a:lnTo>
                      <a:pt x="371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5" name="Google Shape;918;p142">
                <a:extLst>
                  <a:ext uri="{FF2B5EF4-FFF2-40B4-BE49-F238E27FC236}">
                    <a16:creationId xmlns:a16="http://schemas.microsoft.com/office/drawing/2014/main" id="{3B8C24C3-346D-D608-FCCA-82610BC6A62F}"/>
                  </a:ext>
                </a:extLst>
              </p:cNvPr>
              <p:cNvSpPr/>
              <p:nvPr/>
            </p:nvSpPr>
            <p:spPr>
              <a:xfrm>
                <a:off x="11186938" y="2621399"/>
                <a:ext cx="41823" cy="100253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8587" extrusionOk="0">
                    <a:moveTo>
                      <a:pt x="3583" y="0"/>
                    </a:moveTo>
                    <a:lnTo>
                      <a:pt x="3398" y="62"/>
                    </a:lnTo>
                    <a:lnTo>
                      <a:pt x="2965" y="247"/>
                    </a:lnTo>
                    <a:lnTo>
                      <a:pt x="2348" y="618"/>
                    </a:lnTo>
                    <a:lnTo>
                      <a:pt x="1977" y="865"/>
                    </a:lnTo>
                    <a:lnTo>
                      <a:pt x="1668" y="1174"/>
                    </a:lnTo>
                    <a:lnTo>
                      <a:pt x="1297" y="1544"/>
                    </a:lnTo>
                    <a:lnTo>
                      <a:pt x="989" y="1977"/>
                    </a:lnTo>
                    <a:lnTo>
                      <a:pt x="680" y="2471"/>
                    </a:lnTo>
                    <a:lnTo>
                      <a:pt x="433" y="3027"/>
                    </a:lnTo>
                    <a:lnTo>
                      <a:pt x="186" y="3706"/>
                    </a:lnTo>
                    <a:lnTo>
                      <a:pt x="62" y="4386"/>
                    </a:lnTo>
                    <a:lnTo>
                      <a:pt x="0" y="5251"/>
                    </a:lnTo>
                    <a:lnTo>
                      <a:pt x="62" y="6115"/>
                    </a:lnTo>
                    <a:lnTo>
                      <a:pt x="2471" y="8586"/>
                    </a:lnTo>
                    <a:lnTo>
                      <a:pt x="2348" y="8339"/>
                    </a:lnTo>
                    <a:lnTo>
                      <a:pt x="1977" y="7721"/>
                    </a:lnTo>
                    <a:lnTo>
                      <a:pt x="1544" y="6733"/>
                    </a:lnTo>
                    <a:lnTo>
                      <a:pt x="1359" y="6177"/>
                    </a:lnTo>
                    <a:lnTo>
                      <a:pt x="1236" y="5498"/>
                    </a:lnTo>
                    <a:lnTo>
                      <a:pt x="1174" y="4880"/>
                    </a:lnTo>
                    <a:lnTo>
                      <a:pt x="1174" y="4200"/>
                    </a:lnTo>
                    <a:lnTo>
                      <a:pt x="1236" y="3459"/>
                    </a:lnTo>
                    <a:lnTo>
                      <a:pt x="1421" y="2718"/>
                    </a:lnTo>
                    <a:lnTo>
                      <a:pt x="1730" y="2038"/>
                    </a:lnTo>
                    <a:lnTo>
                      <a:pt x="2162" y="1359"/>
                    </a:lnTo>
                    <a:lnTo>
                      <a:pt x="2780" y="680"/>
                    </a:lnTo>
                    <a:lnTo>
                      <a:pt x="3151" y="309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6" name="Google Shape;919;p142">
                <a:extLst>
                  <a:ext uri="{FF2B5EF4-FFF2-40B4-BE49-F238E27FC236}">
                    <a16:creationId xmlns:a16="http://schemas.microsoft.com/office/drawing/2014/main" id="{5197444C-FB99-83F0-9935-BE9C54247F9D}"/>
                  </a:ext>
                </a:extLst>
              </p:cNvPr>
              <p:cNvSpPr/>
              <p:nvPr/>
            </p:nvSpPr>
            <p:spPr>
              <a:xfrm>
                <a:off x="11186938" y="2621399"/>
                <a:ext cx="41823" cy="100253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8587" fill="none" extrusionOk="0">
                    <a:moveTo>
                      <a:pt x="62" y="6115"/>
                    </a:moveTo>
                    <a:lnTo>
                      <a:pt x="2471" y="8586"/>
                    </a:lnTo>
                    <a:lnTo>
                      <a:pt x="2471" y="8586"/>
                    </a:lnTo>
                    <a:lnTo>
                      <a:pt x="2348" y="8339"/>
                    </a:lnTo>
                    <a:lnTo>
                      <a:pt x="1977" y="7721"/>
                    </a:lnTo>
                    <a:lnTo>
                      <a:pt x="1544" y="6733"/>
                    </a:lnTo>
                    <a:lnTo>
                      <a:pt x="1359" y="6177"/>
                    </a:lnTo>
                    <a:lnTo>
                      <a:pt x="1236" y="5498"/>
                    </a:lnTo>
                    <a:lnTo>
                      <a:pt x="1174" y="4880"/>
                    </a:lnTo>
                    <a:lnTo>
                      <a:pt x="1174" y="4200"/>
                    </a:lnTo>
                    <a:lnTo>
                      <a:pt x="1236" y="3459"/>
                    </a:lnTo>
                    <a:lnTo>
                      <a:pt x="1421" y="2718"/>
                    </a:lnTo>
                    <a:lnTo>
                      <a:pt x="1730" y="2038"/>
                    </a:lnTo>
                    <a:lnTo>
                      <a:pt x="2162" y="1359"/>
                    </a:lnTo>
                    <a:lnTo>
                      <a:pt x="2780" y="680"/>
                    </a:lnTo>
                    <a:lnTo>
                      <a:pt x="3151" y="309"/>
                    </a:lnTo>
                    <a:lnTo>
                      <a:pt x="3583" y="0"/>
                    </a:lnTo>
                    <a:lnTo>
                      <a:pt x="3583" y="0"/>
                    </a:lnTo>
                    <a:lnTo>
                      <a:pt x="3398" y="62"/>
                    </a:lnTo>
                    <a:lnTo>
                      <a:pt x="2965" y="247"/>
                    </a:lnTo>
                    <a:lnTo>
                      <a:pt x="2348" y="618"/>
                    </a:lnTo>
                    <a:lnTo>
                      <a:pt x="1977" y="865"/>
                    </a:lnTo>
                    <a:lnTo>
                      <a:pt x="1668" y="1174"/>
                    </a:lnTo>
                    <a:lnTo>
                      <a:pt x="1297" y="1544"/>
                    </a:lnTo>
                    <a:lnTo>
                      <a:pt x="989" y="1977"/>
                    </a:lnTo>
                    <a:lnTo>
                      <a:pt x="680" y="2471"/>
                    </a:lnTo>
                    <a:lnTo>
                      <a:pt x="433" y="3027"/>
                    </a:lnTo>
                    <a:lnTo>
                      <a:pt x="186" y="3706"/>
                    </a:lnTo>
                    <a:lnTo>
                      <a:pt x="62" y="4386"/>
                    </a:lnTo>
                    <a:lnTo>
                      <a:pt x="0" y="5251"/>
                    </a:lnTo>
                    <a:lnTo>
                      <a:pt x="62" y="611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7" name="Google Shape;920;p142">
                <a:extLst>
                  <a:ext uri="{FF2B5EF4-FFF2-40B4-BE49-F238E27FC236}">
                    <a16:creationId xmlns:a16="http://schemas.microsoft.com/office/drawing/2014/main" id="{A582A45B-EF41-EA31-00B8-DF04B7C84609}"/>
                  </a:ext>
                </a:extLst>
              </p:cNvPr>
              <p:cNvSpPr/>
              <p:nvPr/>
            </p:nvSpPr>
            <p:spPr>
              <a:xfrm>
                <a:off x="11260456" y="2643022"/>
                <a:ext cx="127639" cy="140637"/>
              </a:xfrm>
              <a:custGeom>
                <a:avLst/>
                <a:gdLst/>
                <a:ahLst/>
                <a:cxnLst/>
                <a:rect l="l" t="t" r="r" b="b"/>
                <a:pathLst>
                  <a:path w="10935" h="12046" extrusionOk="0">
                    <a:moveTo>
                      <a:pt x="10934" y="0"/>
                    </a:moveTo>
                    <a:lnTo>
                      <a:pt x="9822" y="433"/>
                    </a:lnTo>
                    <a:lnTo>
                      <a:pt x="8587" y="989"/>
                    </a:lnTo>
                    <a:lnTo>
                      <a:pt x="7166" y="1730"/>
                    </a:lnTo>
                    <a:lnTo>
                      <a:pt x="6425" y="2224"/>
                    </a:lnTo>
                    <a:lnTo>
                      <a:pt x="5684" y="2718"/>
                    </a:lnTo>
                    <a:lnTo>
                      <a:pt x="4942" y="3274"/>
                    </a:lnTo>
                    <a:lnTo>
                      <a:pt x="4201" y="3892"/>
                    </a:lnTo>
                    <a:lnTo>
                      <a:pt x="3584" y="4509"/>
                    </a:lnTo>
                    <a:lnTo>
                      <a:pt x="2966" y="5251"/>
                    </a:lnTo>
                    <a:lnTo>
                      <a:pt x="2410" y="5992"/>
                    </a:lnTo>
                    <a:lnTo>
                      <a:pt x="2039" y="6733"/>
                    </a:lnTo>
                    <a:lnTo>
                      <a:pt x="1" y="12045"/>
                    </a:lnTo>
                    <a:lnTo>
                      <a:pt x="3089" y="11736"/>
                    </a:lnTo>
                    <a:lnTo>
                      <a:pt x="3089" y="11428"/>
                    </a:lnTo>
                    <a:lnTo>
                      <a:pt x="3151" y="10501"/>
                    </a:lnTo>
                    <a:lnTo>
                      <a:pt x="3275" y="9883"/>
                    </a:lnTo>
                    <a:lnTo>
                      <a:pt x="3460" y="9142"/>
                    </a:lnTo>
                    <a:lnTo>
                      <a:pt x="3645" y="8339"/>
                    </a:lnTo>
                    <a:lnTo>
                      <a:pt x="3954" y="7474"/>
                    </a:lnTo>
                    <a:lnTo>
                      <a:pt x="4387" y="6548"/>
                    </a:lnTo>
                    <a:lnTo>
                      <a:pt x="4881" y="5559"/>
                    </a:lnTo>
                    <a:lnTo>
                      <a:pt x="5560" y="4571"/>
                    </a:lnTo>
                    <a:lnTo>
                      <a:pt x="6301" y="3583"/>
                    </a:lnTo>
                    <a:lnTo>
                      <a:pt x="7228" y="2656"/>
                    </a:lnTo>
                    <a:lnTo>
                      <a:pt x="8278" y="1730"/>
                    </a:lnTo>
                    <a:lnTo>
                      <a:pt x="8896" y="1236"/>
                    </a:lnTo>
                    <a:lnTo>
                      <a:pt x="9513" y="803"/>
                    </a:lnTo>
                    <a:lnTo>
                      <a:pt x="10193" y="371"/>
                    </a:lnTo>
                    <a:lnTo>
                      <a:pt x="10934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8" name="Google Shape;921;p142">
                <a:extLst>
                  <a:ext uri="{FF2B5EF4-FFF2-40B4-BE49-F238E27FC236}">
                    <a16:creationId xmlns:a16="http://schemas.microsoft.com/office/drawing/2014/main" id="{EBE23A5E-5DAF-0671-466F-1392D559A24E}"/>
                  </a:ext>
                </a:extLst>
              </p:cNvPr>
              <p:cNvSpPr/>
              <p:nvPr/>
            </p:nvSpPr>
            <p:spPr>
              <a:xfrm>
                <a:off x="11260456" y="2643022"/>
                <a:ext cx="127639" cy="140637"/>
              </a:xfrm>
              <a:custGeom>
                <a:avLst/>
                <a:gdLst/>
                <a:ahLst/>
                <a:cxnLst/>
                <a:rect l="l" t="t" r="r" b="b"/>
                <a:pathLst>
                  <a:path w="10935" h="12046" fill="none" extrusionOk="0">
                    <a:moveTo>
                      <a:pt x="2039" y="6733"/>
                    </a:moveTo>
                    <a:lnTo>
                      <a:pt x="1" y="12045"/>
                    </a:lnTo>
                    <a:lnTo>
                      <a:pt x="3089" y="11736"/>
                    </a:lnTo>
                    <a:lnTo>
                      <a:pt x="3089" y="11736"/>
                    </a:lnTo>
                    <a:lnTo>
                      <a:pt x="3089" y="11428"/>
                    </a:lnTo>
                    <a:lnTo>
                      <a:pt x="3151" y="10501"/>
                    </a:lnTo>
                    <a:lnTo>
                      <a:pt x="3275" y="9883"/>
                    </a:lnTo>
                    <a:lnTo>
                      <a:pt x="3460" y="9142"/>
                    </a:lnTo>
                    <a:lnTo>
                      <a:pt x="3645" y="8339"/>
                    </a:lnTo>
                    <a:lnTo>
                      <a:pt x="3954" y="7474"/>
                    </a:lnTo>
                    <a:lnTo>
                      <a:pt x="4387" y="6548"/>
                    </a:lnTo>
                    <a:lnTo>
                      <a:pt x="4881" y="5559"/>
                    </a:lnTo>
                    <a:lnTo>
                      <a:pt x="5560" y="4571"/>
                    </a:lnTo>
                    <a:lnTo>
                      <a:pt x="6301" y="3583"/>
                    </a:lnTo>
                    <a:lnTo>
                      <a:pt x="7228" y="2656"/>
                    </a:lnTo>
                    <a:lnTo>
                      <a:pt x="8278" y="1730"/>
                    </a:lnTo>
                    <a:lnTo>
                      <a:pt x="8896" y="1236"/>
                    </a:lnTo>
                    <a:lnTo>
                      <a:pt x="9513" y="803"/>
                    </a:lnTo>
                    <a:lnTo>
                      <a:pt x="10193" y="371"/>
                    </a:lnTo>
                    <a:lnTo>
                      <a:pt x="10934" y="0"/>
                    </a:lnTo>
                    <a:lnTo>
                      <a:pt x="10934" y="0"/>
                    </a:lnTo>
                    <a:lnTo>
                      <a:pt x="9822" y="433"/>
                    </a:lnTo>
                    <a:lnTo>
                      <a:pt x="8587" y="989"/>
                    </a:lnTo>
                    <a:lnTo>
                      <a:pt x="7166" y="1730"/>
                    </a:lnTo>
                    <a:lnTo>
                      <a:pt x="6425" y="2224"/>
                    </a:lnTo>
                    <a:lnTo>
                      <a:pt x="5684" y="2718"/>
                    </a:lnTo>
                    <a:lnTo>
                      <a:pt x="4942" y="3274"/>
                    </a:lnTo>
                    <a:lnTo>
                      <a:pt x="4201" y="3892"/>
                    </a:lnTo>
                    <a:lnTo>
                      <a:pt x="3584" y="4509"/>
                    </a:lnTo>
                    <a:lnTo>
                      <a:pt x="2966" y="5251"/>
                    </a:lnTo>
                    <a:lnTo>
                      <a:pt x="2410" y="5992"/>
                    </a:lnTo>
                    <a:lnTo>
                      <a:pt x="2039" y="6733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9" name="Google Shape;922;p142">
                <a:extLst>
                  <a:ext uri="{FF2B5EF4-FFF2-40B4-BE49-F238E27FC236}">
                    <a16:creationId xmlns:a16="http://schemas.microsoft.com/office/drawing/2014/main" id="{75C3197F-68BE-04D9-FBC2-CD1498143F8E}"/>
                  </a:ext>
                </a:extLst>
              </p:cNvPr>
              <p:cNvSpPr/>
              <p:nvPr/>
            </p:nvSpPr>
            <p:spPr>
              <a:xfrm>
                <a:off x="11065120" y="2332351"/>
                <a:ext cx="374209" cy="373577"/>
              </a:xfrm>
              <a:custGeom>
                <a:avLst/>
                <a:gdLst/>
                <a:ahLst/>
                <a:cxnLst/>
                <a:rect l="l" t="t" r="r" b="b"/>
                <a:pathLst>
                  <a:path w="32059" h="31998" extrusionOk="0">
                    <a:moveTo>
                      <a:pt x="15196" y="0"/>
                    </a:moveTo>
                    <a:lnTo>
                      <a:pt x="14393" y="62"/>
                    </a:lnTo>
                    <a:lnTo>
                      <a:pt x="13590" y="186"/>
                    </a:lnTo>
                    <a:lnTo>
                      <a:pt x="12787" y="309"/>
                    </a:lnTo>
                    <a:lnTo>
                      <a:pt x="12045" y="494"/>
                    </a:lnTo>
                    <a:lnTo>
                      <a:pt x="11242" y="742"/>
                    </a:lnTo>
                    <a:lnTo>
                      <a:pt x="10501" y="989"/>
                    </a:lnTo>
                    <a:lnTo>
                      <a:pt x="9822" y="1236"/>
                    </a:lnTo>
                    <a:lnTo>
                      <a:pt x="9080" y="1606"/>
                    </a:lnTo>
                    <a:lnTo>
                      <a:pt x="8401" y="1915"/>
                    </a:lnTo>
                    <a:lnTo>
                      <a:pt x="7721" y="2348"/>
                    </a:lnTo>
                    <a:lnTo>
                      <a:pt x="7104" y="2718"/>
                    </a:lnTo>
                    <a:lnTo>
                      <a:pt x="5868" y="3645"/>
                    </a:lnTo>
                    <a:lnTo>
                      <a:pt x="4695" y="4695"/>
                    </a:lnTo>
                    <a:lnTo>
                      <a:pt x="3644" y="5807"/>
                    </a:lnTo>
                    <a:lnTo>
                      <a:pt x="2718" y="7042"/>
                    </a:lnTo>
                    <a:lnTo>
                      <a:pt x="2347" y="7722"/>
                    </a:lnTo>
                    <a:lnTo>
                      <a:pt x="1915" y="8339"/>
                    </a:lnTo>
                    <a:lnTo>
                      <a:pt x="1606" y="9081"/>
                    </a:lnTo>
                    <a:lnTo>
                      <a:pt x="1297" y="9760"/>
                    </a:lnTo>
                    <a:lnTo>
                      <a:pt x="988" y="10501"/>
                    </a:lnTo>
                    <a:lnTo>
                      <a:pt x="741" y="11242"/>
                    </a:lnTo>
                    <a:lnTo>
                      <a:pt x="494" y="11984"/>
                    </a:lnTo>
                    <a:lnTo>
                      <a:pt x="309" y="12787"/>
                    </a:lnTo>
                    <a:lnTo>
                      <a:pt x="185" y="13528"/>
                    </a:lnTo>
                    <a:lnTo>
                      <a:pt x="124" y="14331"/>
                    </a:lnTo>
                    <a:lnTo>
                      <a:pt x="62" y="15196"/>
                    </a:lnTo>
                    <a:lnTo>
                      <a:pt x="0" y="15999"/>
                    </a:lnTo>
                    <a:lnTo>
                      <a:pt x="62" y="16802"/>
                    </a:lnTo>
                    <a:lnTo>
                      <a:pt x="124" y="17605"/>
                    </a:lnTo>
                    <a:lnTo>
                      <a:pt x="185" y="18408"/>
                    </a:lnTo>
                    <a:lnTo>
                      <a:pt x="309" y="19211"/>
                    </a:lnTo>
                    <a:lnTo>
                      <a:pt x="494" y="20014"/>
                    </a:lnTo>
                    <a:lnTo>
                      <a:pt x="741" y="20755"/>
                    </a:lnTo>
                    <a:lnTo>
                      <a:pt x="988" y="21496"/>
                    </a:lnTo>
                    <a:lnTo>
                      <a:pt x="1297" y="22238"/>
                    </a:lnTo>
                    <a:lnTo>
                      <a:pt x="1606" y="22917"/>
                    </a:lnTo>
                    <a:lnTo>
                      <a:pt x="1915" y="23596"/>
                    </a:lnTo>
                    <a:lnTo>
                      <a:pt x="2347" y="24276"/>
                    </a:lnTo>
                    <a:lnTo>
                      <a:pt x="2718" y="24955"/>
                    </a:lnTo>
                    <a:lnTo>
                      <a:pt x="3644" y="26129"/>
                    </a:lnTo>
                    <a:lnTo>
                      <a:pt x="4695" y="27303"/>
                    </a:lnTo>
                    <a:lnTo>
                      <a:pt x="5868" y="28353"/>
                    </a:lnTo>
                    <a:lnTo>
                      <a:pt x="7104" y="29218"/>
                    </a:lnTo>
                    <a:lnTo>
                      <a:pt x="7721" y="29650"/>
                    </a:lnTo>
                    <a:lnTo>
                      <a:pt x="8401" y="30021"/>
                    </a:lnTo>
                    <a:lnTo>
                      <a:pt x="9080" y="30391"/>
                    </a:lnTo>
                    <a:lnTo>
                      <a:pt x="9822" y="30700"/>
                    </a:lnTo>
                    <a:lnTo>
                      <a:pt x="10501" y="31009"/>
                    </a:lnTo>
                    <a:lnTo>
                      <a:pt x="11242" y="31256"/>
                    </a:lnTo>
                    <a:lnTo>
                      <a:pt x="12045" y="31441"/>
                    </a:lnTo>
                    <a:lnTo>
                      <a:pt x="12787" y="31627"/>
                    </a:lnTo>
                    <a:lnTo>
                      <a:pt x="13590" y="31812"/>
                    </a:lnTo>
                    <a:lnTo>
                      <a:pt x="14393" y="31874"/>
                    </a:lnTo>
                    <a:lnTo>
                      <a:pt x="15196" y="31935"/>
                    </a:lnTo>
                    <a:lnTo>
                      <a:pt x="16060" y="31997"/>
                    </a:lnTo>
                    <a:lnTo>
                      <a:pt x="16863" y="31935"/>
                    </a:lnTo>
                    <a:lnTo>
                      <a:pt x="17666" y="31874"/>
                    </a:lnTo>
                    <a:lnTo>
                      <a:pt x="18469" y="31812"/>
                    </a:lnTo>
                    <a:lnTo>
                      <a:pt x="19272" y="31627"/>
                    </a:lnTo>
                    <a:lnTo>
                      <a:pt x="20014" y="31441"/>
                    </a:lnTo>
                    <a:lnTo>
                      <a:pt x="20817" y="31256"/>
                    </a:lnTo>
                    <a:lnTo>
                      <a:pt x="21558" y="31009"/>
                    </a:lnTo>
                    <a:lnTo>
                      <a:pt x="22299" y="30700"/>
                    </a:lnTo>
                    <a:lnTo>
                      <a:pt x="22979" y="30391"/>
                    </a:lnTo>
                    <a:lnTo>
                      <a:pt x="23658" y="30021"/>
                    </a:lnTo>
                    <a:lnTo>
                      <a:pt x="24338" y="29650"/>
                    </a:lnTo>
                    <a:lnTo>
                      <a:pt x="25017" y="29218"/>
                    </a:lnTo>
                    <a:lnTo>
                      <a:pt x="26252" y="28353"/>
                    </a:lnTo>
                    <a:lnTo>
                      <a:pt x="27364" y="27303"/>
                    </a:lnTo>
                    <a:lnTo>
                      <a:pt x="28414" y="26129"/>
                    </a:lnTo>
                    <a:lnTo>
                      <a:pt x="29341" y="24955"/>
                    </a:lnTo>
                    <a:lnTo>
                      <a:pt x="29712" y="24276"/>
                    </a:lnTo>
                    <a:lnTo>
                      <a:pt x="30144" y="23596"/>
                    </a:lnTo>
                    <a:lnTo>
                      <a:pt x="30453" y="22917"/>
                    </a:lnTo>
                    <a:lnTo>
                      <a:pt x="30823" y="22238"/>
                    </a:lnTo>
                    <a:lnTo>
                      <a:pt x="31071" y="21496"/>
                    </a:lnTo>
                    <a:lnTo>
                      <a:pt x="31318" y="20755"/>
                    </a:lnTo>
                    <a:lnTo>
                      <a:pt x="31565" y="20014"/>
                    </a:lnTo>
                    <a:lnTo>
                      <a:pt x="31750" y="19211"/>
                    </a:lnTo>
                    <a:lnTo>
                      <a:pt x="31874" y="18408"/>
                    </a:lnTo>
                    <a:lnTo>
                      <a:pt x="31997" y="17605"/>
                    </a:lnTo>
                    <a:lnTo>
                      <a:pt x="32059" y="16802"/>
                    </a:lnTo>
                    <a:lnTo>
                      <a:pt x="32059" y="15999"/>
                    </a:lnTo>
                    <a:lnTo>
                      <a:pt x="32059" y="15196"/>
                    </a:lnTo>
                    <a:lnTo>
                      <a:pt x="31997" y="14331"/>
                    </a:lnTo>
                    <a:lnTo>
                      <a:pt x="31874" y="13528"/>
                    </a:lnTo>
                    <a:lnTo>
                      <a:pt x="31750" y="12787"/>
                    </a:lnTo>
                    <a:lnTo>
                      <a:pt x="31565" y="11984"/>
                    </a:lnTo>
                    <a:lnTo>
                      <a:pt x="31318" y="11242"/>
                    </a:lnTo>
                    <a:lnTo>
                      <a:pt x="31071" y="10501"/>
                    </a:lnTo>
                    <a:lnTo>
                      <a:pt x="30823" y="9760"/>
                    </a:lnTo>
                    <a:lnTo>
                      <a:pt x="30453" y="9081"/>
                    </a:lnTo>
                    <a:lnTo>
                      <a:pt x="30144" y="8339"/>
                    </a:lnTo>
                    <a:lnTo>
                      <a:pt x="29712" y="7722"/>
                    </a:lnTo>
                    <a:lnTo>
                      <a:pt x="29341" y="7042"/>
                    </a:lnTo>
                    <a:lnTo>
                      <a:pt x="28414" y="5807"/>
                    </a:lnTo>
                    <a:lnTo>
                      <a:pt x="27364" y="4695"/>
                    </a:lnTo>
                    <a:lnTo>
                      <a:pt x="26252" y="3645"/>
                    </a:lnTo>
                    <a:lnTo>
                      <a:pt x="25017" y="2718"/>
                    </a:lnTo>
                    <a:lnTo>
                      <a:pt x="24338" y="2348"/>
                    </a:lnTo>
                    <a:lnTo>
                      <a:pt x="23658" y="1915"/>
                    </a:lnTo>
                    <a:lnTo>
                      <a:pt x="22979" y="1606"/>
                    </a:lnTo>
                    <a:lnTo>
                      <a:pt x="22299" y="1236"/>
                    </a:lnTo>
                    <a:lnTo>
                      <a:pt x="21558" y="989"/>
                    </a:lnTo>
                    <a:lnTo>
                      <a:pt x="20817" y="742"/>
                    </a:lnTo>
                    <a:lnTo>
                      <a:pt x="20014" y="494"/>
                    </a:lnTo>
                    <a:lnTo>
                      <a:pt x="19272" y="309"/>
                    </a:lnTo>
                    <a:lnTo>
                      <a:pt x="18469" y="186"/>
                    </a:lnTo>
                    <a:lnTo>
                      <a:pt x="17666" y="62"/>
                    </a:lnTo>
                    <a:lnTo>
                      <a:pt x="16863" y="0"/>
                    </a:lnTo>
                    <a:close/>
                  </a:path>
                </a:pathLst>
              </a:custGeom>
              <a:solidFill>
                <a:srgbClr val="6DD2C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0" name="Google Shape;923;p142">
                <a:extLst>
                  <a:ext uri="{FF2B5EF4-FFF2-40B4-BE49-F238E27FC236}">
                    <a16:creationId xmlns:a16="http://schemas.microsoft.com/office/drawing/2014/main" id="{39A604A3-793C-EE14-6B7F-7F33460C0E8C}"/>
                  </a:ext>
                </a:extLst>
              </p:cNvPr>
              <p:cNvSpPr/>
              <p:nvPr/>
            </p:nvSpPr>
            <p:spPr>
              <a:xfrm>
                <a:off x="11065120" y="2332351"/>
                <a:ext cx="374209" cy="373577"/>
              </a:xfrm>
              <a:custGeom>
                <a:avLst/>
                <a:gdLst/>
                <a:ahLst/>
                <a:cxnLst/>
                <a:rect l="l" t="t" r="r" b="b"/>
                <a:pathLst>
                  <a:path w="32059" h="31998" fill="none" extrusionOk="0">
                    <a:moveTo>
                      <a:pt x="16060" y="0"/>
                    </a:moveTo>
                    <a:lnTo>
                      <a:pt x="16060" y="0"/>
                    </a:lnTo>
                    <a:lnTo>
                      <a:pt x="15196" y="0"/>
                    </a:lnTo>
                    <a:lnTo>
                      <a:pt x="14393" y="62"/>
                    </a:lnTo>
                    <a:lnTo>
                      <a:pt x="13590" y="186"/>
                    </a:lnTo>
                    <a:lnTo>
                      <a:pt x="12787" y="309"/>
                    </a:lnTo>
                    <a:lnTo>
                      <a:pt x="12045" y="494"/>
                    </a:lnTo>
                    <a:lnTo>
                      <a:pt x="11242" y="742"/>
                    </a:lnTo>
                    <a:lnTo>
                      <a:pt x="10501" y="989"/>
                    </a:lnTo>
                    <a:lnTo>
                      <a:pt x="9822" y="1236"/>
                    </a:lnTo>
                    <a:lnTo>
                      <a:pt x="9080" y="1606"/>
                    </a:lnTo>
                    <a:lnTo>
                      <a:pt x="8401" y="1915"/>
                    </a:lnTo>
                    <a:lnTo>
                      <a:pt x="7721" y="2348"/>
                    </a:lnTo>
                    <a:lnTo>
                      <a:pt x="7104" y="2718"/>
                    </a:lnTo>
                    <a:lnTo>
                      <a:pt x="5868" y="3645"/>
                    </a:lnTo>
                    <a:lnTo>
                      <a:pt x="4695" y="4695"/>
                    </a:lnTo>
                    <a:lnTo>
                      <a:pt x="3644" y="5807"/>
                    </a:lnTo>
                    <a:lnTo>
                      <a:pt x="2718" y="7042"/>
                    </a:lnTo>
                    <a:lnTo>
                      <a:pt x="2347" y="7722"/>
                    </a:lnTo>
                    <a:lnTo>
                      <a:pt x="1915" y="8339"/>
                    </a:lnTo>
                    <a:lnTo>
                      <a:pt x="1606" y="9081"/>
                    </a:lnTo>
                    <a:lnTo>
                      <a:pt x="1297" y="9760"/>
                    </a:lnTo>
                    <a:lnTo>
                      <a:pt x="988" y="10501"/>
                    </a:lnTo>
                    <a:lnTo>
                      <a:pt x="741" y="11242"/>
                    </a:lnTo>
                    <a:lnTo>
                      <a:pt x="494" y="11984"/>
                    </a:lnTo>
                    <a:lnTo>
                      <a:pt x="309" y="12787"/>
                    </a:lnTo>
                    <a:lnTo>
                      <a:pt x="185" y="13528"/>
                    </a:lnTo>
                    <a:lnTo>
                      <a:pt x="124" y="14331"/>
                    </a:lnTo>
                    <a:lnTo>
                      <a:pt x="62" y="15196"/>
                    </a:lnTo>
                    <a:lnTo>
                      <a:pt x="0" y="15999"/>
                    </a:lnTo>
                    <a:lnTo>
                      <a:pt x="0" y="15999"/>
                    </a:lnTo>
                    <a:lnTo>
                      <a:pt x="62" y="16802"/>
                    </a:lnTo>
                    <a:lnTo>
                      <a:pt x="124" y="17605"/>
                    </a:lnTo>
                    <a:lnTo>
                      <a:pt x="185" y="18408"/>
                    </a:lnTo>
                    <a:lnTo>
                      <a:pt x="309" y="19211"/>
                    </a:lnTo>
                    <a:lnTo>
                      <a:pt x="494" y="20014"/>
                    </a:lnTo>
                    <a:lnTo>
                      <a:pt x="741" y="20755"/>
                    </a:lnTo>
                    <a:lnTo>
                      <a:pt x="988" y="21496"/>
                    </a:lnTo>
                    <a:lnTo>
                      <a:pt x="1297" y="22238"/>
                    </a:lnTo>
                    <a:lnTo>
                      <a:pt x="1606" y="22917"/>
                    </a:lnTo>
                    <a:lnTo>
                      <a:pt x="1915" y="23596"/>
                    </a:lnTo>
                    <a:lnTo>
                      <a:pt x="2347" y="24276"/>
                    </a:lnTo>
                    <a:lnTo>
                      <a:pt x="2718" y="24955"/>
                    </a:lnTo>
                    <a:lnTo>
                      <a:pt x="3644" y="26129"/>
                    </a:lnTo>
                    <a:lnTo>
                      <a:pt x="4695" y="27303"/>
                    </a:lnTo>
                    <a:lnTo>
                      <a:pt x="5868" y="28353"/>
                    </a:lnTo>
                    <a:lnTo>
                      <a:pt x="7104" y="29218"/>
                    </a:lnTo>
                    <a:lnTo>
                      <a:pt x="7721" y="29650"/>
                    </a:lnTo>
                    <a:lnTo>
                      <a:pt x="8401" y="30021"/>
                    </a:lnTo>
                    <a:lnTo>
                      <a:pt x="9080" y="30391"/>
                    </a:lnTo>
                    <a:lnTo>
                      <a:pt x="9822" y="30700"/>
                    </a:lnTo>
                    <a:lnTo>
                      <a:pt x="10501" y="31009"/>
                    </a:lnTo>
                    <a:lnTo>
                      <a:pt x="11242" y="31256"/>
                    </a:lnTo>
                    <a:lnTo>
                      <a:pt x="12045" y="31441"/>
                    </a:lnTo>
                    <a:lnTo>
                      <a:pt x="12787" y="31627"/>
                    </a:lnTo>
                    <a:lnTo>
                      <a:pt x="13590" y="31812"/>
                    </a:lnTo>
                    <a:lnTo>
                      <a:pt x="14393" y="31874"/>
                    </a:lnTo>
                    <a:lnTo>
                      <a:pt x="15196" y="31935"/>
                    </a:lnTo>
                    <a:lnTo>
                      <a:pt x="16060" y="31997"/>
                    </a:lnTo>
                    <a:lnTo>
                      <a:pt x="16060" y="31997"/>
                    </a:lnTo>
                    <a:lnTo>
                      <a:pt x="16863" y="31935"/>
                    </a:lnTo>
                    <a:lnTo>
                      <a:pt x="17666" y="31874"/>
                    </a:lnTo>
                    <a:lnTo>
                      <a:pt x="18469" y="31812"/>
                    </a:lnTo>
                    <a:lnTo>
                      <a:pt x="19272" y="31627"/>
                    </a:lnTo>
                    <a:lnTo>
                      <a:pt x="20014" y="31441"/>
                    </a:lnTo>
                    <a:lnTo>
                      <a:pt x="20817" y="31256"/>
                    </a:lnTo>
                    <a:lnTo>
                      <a:pt x="21558" y="31009"/>
                    </a:lnTo>
                    <a:lnTo>
                      <a:pt x="22299" y="30700"/>
                    </a:lnTo>
                    <a:lnTo>
                      <a:pt x="22979" y="30391"/>
                    </a:lnTo>
                    <a:lnTo>
                      <a:pt x="23658" y="30021"/>
                    </a:lnTo>
                    <a:lnTo>
                      <a:pt x="24338" y="29650"/>
                    </a:lnTo>
                    <a:lnTo>
                      <a:pt x="25017" y="29218"/>
                    </a:lnTo>
                    <a:lnTo>
                      <a:pt x="26252" y="28353"/>
                    </a:lnTo>
                    <a:lnTo>
                      <a:pt x="27364" y="27303"/>
                    </a:lnTo>
                    <a:lnTo>
                      <a:pt x="28414" y="26129"/>
                    </a:lnTo>
                    <a:lnTo>
                      <a:pt x="29341" y="24955"/>
                    </a:lnTo>
                    <a:lnTo>
                      <a:pt x="29712" y="24276"/>
                    </a:lnTo>
                    <a:lnTo>
                      <a:pt x="30144" y="23596"/>
                    </a:lnTo>
                    <a:lnTo>
                      <a:pt x="30453" y="22917"/>
                    </a:lnTo>
                    <a:lnTo>
                      <a:pt x="30823" y="22238"/>
                    </a:lnTo>
                    <a:lnTo>
                      <a:pt x="31071" y="21496"/>
                    </a:lnTo>
                    <a:lnTo>
                      <a:pt x="31318" y="20755"/>
                    </a:lnTo>
                    <a:lnTo>
                      <a:pt x="31565" y="20014"/>
                    </a:lnTo>
                    <a:lnTo>
                      <a:pt x="31750" y="19211"/>
                    </a:lnTo>
                    <a:lnTo>
                      <a:pt x="31874" y="18408"/>
                    </a:lnTo>
                    <a:lnTo>
                      <a:pt x="31997" y="17605"/>
                    </a:lnTo>
                    <a:lnTo>
                      <a:pt x="32059" y="16802"/>
                    </a:lnTo>
                    <a:lnTo>
                      <a:pt x="32059" y="15999"/>
                    </a:lnTo>
                    <a:lnTo>
                      <a:pt x="32059" y="15999"/>
                    </a:lnTo>
                    <a:lnTo>
                      <a:pt x="32059" y="15196"/>
                    </a:lnTo>
                    <a:lnTo>
                      <a:pt x="31997" y="14331"/>
                    </a:lnTo>
                    <a:lnTo>
                      <a:pt x="31874" y="13528"/>
                    </a:lnTo>
                    <a:lnTo>
                      <a:pt x="31750" y="12787"/>
                    </a:lnTo>
                    <a:lnTo>
                      <a:pt x="31565" y="11984"/>
                    </a:lnTo>
                    <a:lnTo>
                      <a:pt x="31318" y="11242"/>
                    </a:lnTo>
                    <a:lnTo>
                      <a:pt x="31071" y="10501"/>
                    </a:lnTo>
                    <a:lnTo>
                      <a:pt x="30823" y="9760"/>
                    </a:lnTo>
                    <a:lnTo>
                      <a:pt x="30453" y="9081"/>
                    </a:lnTo>
                    <a:lnTo>
                      <a:pt x="30144" y="8339"/>
                    </a:lnTo>
                    <a:lnTo>
                      <a:pt x="29712" y="7722"/>
                    </a:lnTo>
                    <a:lnTo>
                      <a:pt x="29341" y="7042"/>
                    </a:lnTo>
                    <a:lnTo>
                      <a:pt x="28414" y="5807"/>
                    </a:lnTo>
                    <a:lnTo>
                      <a:pt x="27364" y="4695"/>
                    </a:lnTo>
                    <a:lnTo>
                      <a:pt x="26252" y="3645"/>
                    </a:lnTo>
                    <a:lnTo>
                      <a:pt x="25017" y="2718"/>
                    </a:lnTo>
                    <a:lnTo>
                      <a:pt x="24338" y="2348"/>
                    </a:lnTo>
                    <a:lnTo>
                      <a:pt x="23658" y="1915"/>
                    </a:lnTo>
                    <a:lnTo>
                      <a:pt x="22979" y="1606"/>
                    </a:lnTo>
                    <a:lnTo>
                      <a:pt x="22299" y="1236"/>
                    </a:lnTo>
                    <a:lnTo>
                      <a:pt x="21558" y="989"/>
                    </a:lnTo>
                    <a:lnTo>
                      <a:pt x="20817" y="742"/>
                    </a:lnTo>
                    <a:lnTo>
                      <a:pt x="20014" y="494"/>
                    </a:lnTo>
                    <a:lnTo>
                      <a:pt x="19272" y="309"/>
                    </a:lnTo>
                    <a:lnTo>
                      <a:pt x="18469" y="186"/>
                    </a:lnTo>
                    <a:lnTo>
                      <a:pt x="17666" y="62"/>
                    </a:lnTo>
                    <a:lnTo>
                      <a:pt x="16863" y="0"/>
                    </a:lnTo>
                    <a:lnTo>
                      <a:pt x="1606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1" name="Google Shape;924;p142">
                <a:extLst>
                  <a:ext uri="{FF2B5EF4-FFF2-40B4-BE49-F238E27FC236}">
                    <a16:creationId xmlns:a16="http://schemas.microsoft.com/office/drawing/2014/main" id="{84213CDD-18DD-CDE2-B40D-56824055F47E}"/>
                  </a:ext>
                </a:extLst>
              </p:cNvPr>
              <p:cNvSpPr/>
              <p:nvPr/>
            </p:nvSpPr>
            <p:spPr>
              <a:xfrm>
                <a:off x="10817155" y="2252335"/>
                <a:ext cx="408818" cy="388719"/>
              </a:xfrm>
              <a:custGeom>
                <a:avLst/>
                <a:gdLst/>
                <a:ahLst/>
                <a:cxnLst/>
                <a:rect l="l" t="t" r="r" b="b"/>
                <a:pathLst>
                  <a:path w="35024" h="33295" extrusionOk="0">
                    <a:moveTo>
                      <a:pt x="17481" y="1"/>
                    </a:moveTo>
                    <a:lnTo>
                      <a:pt x="16616" y="63"/>
                    </a:lnTo>
                    <a:lnTo>
                      <a:pt x="15690" y="124"/>
                    </a:lnTo>
                    <a:lnTo>
                      <a:pt x="14825" y="186"/>
                    </a:lnTo>
                    <a:lnTo>
                      <a:pt x="13960" y="371"/>
                    </a:lnTo>
                    <a:lnTo>
                      <a:pt x="13157" y="557"/>
                    </a:lnTo>
                    <a:lnTo>
                      <a:pt x="12292" y="742"/>
                    </a:lnTo>
                    <a:lnTo>
                      <a:pt x="11489" y="1051"/>
                    </a:lnTo>
                    <a:lnTo>
                      <a:pt x="10686" y="1298"/>
                    </a:lnTo>
                    <a:lnTo>
                      <a:pt x="9945" y="1669"/>
                    </a:lnTo>
                    <a:lnTo>
                      <a:pt x="9142" y="2039"/>
                    </a:lnTo>
                    <a:lnTo>
                      <a:pt x="8401" y="2410"/>
                    </a:lnTo>
                    <a:lnTo>
                      <a:pt x="7721" y="2842"/>
                    </a:lnTo>
                    <a:lnTo>
                      <a:pt x="7042" y="3336"/>
                    </a:lnTo>
                    <a:lnTo>
                      <a:pt x="6362" y="3831"/>
                    </a:lnTo>
                    <a:lnTo>
                      <a:pt x="5745" y="4325"/>
                    </a:lnTo>
                    <a:lnTo>
                      <a:pt x="5127" y="4881"/>
                    </a:lnTo>
                    <a:lnTo>
                      <a:pt x="4571" y="5437"/>
                    </a:lnTo>
                    <a:lnTo>
                      <a:pt x="4015" y="6054"/>
                    </a:lnTo>
                    <a:lnTo>
                      <a:pt x="3459" y="6672"/>
                    </a:lnTo>
                    <a:lnTo>
                      <a:pt x="2965" y="7351"/>
                    </a:lnTo>
                    <a:lnTo>
                      <a:pt x="2533" y="8031"/>
                    </a:lnTo>
                    <a:lnTo>
                      <a:pt x="2100" y="8710"/>
                    </a:lnTo>
                    <a:lnTo>
                      <a:pt x="1730" y="9452"/>
                    </a:lnTo>
                    <a:lnTo>
                      <a:pt x="1359" y="10193"/>
                    </a:lnTo>
                    <a:lnTo>
                      <a:pt x="1050" y="10934"/>
                    </a:lnTo>
                    <a:lnTo>
                      <a:pt x="803" y="11675"/>
                    </a:lnTo>
                    <a:lnTo>
                      <a:pt x="556" y="12478"/>
                    </a:lnTo>
                    <a:lnTo>
                      <a:pt x="371" y="13281"/>
                    </a:lnTo>
                    <a:lnTo>
                      <a:pt x="185" y="14084"/>
                    </a:lnTo>
                    <a:lnTo>
                      <a:pt x="124" y="14949"/>
                    </a:lnTo>
                    <a:lnTo>
                      <a:pt x="0" y="15814"/>
                    </a:lnTo>
                    <a:lnTo>
                      <a:pt x="0" y="16679"/>
                    </a:lnTo>
                    <a:lnTo>
                      <a:pt x="0" y="17482"/>
                    </a:lnTo>
                    <a:lnTo>
                      <a:pt x="124" y="18347"/>
                    </a:lnTo>
                    <a:lnTo>
                      <a:pt x="185" y="19211"/>
                    </a:lnTo>
                    <a:lnTo>
                      <a:pt x="371" y="20014"/>
                    </a:lnTo>
                    <a:lnTo>
                      <a:pt x="556" y="20817"/>
                    </a:lnTo>
                    <a:lnTo>
                      <a:pt x="803" y="21620"/>
                    </a:lnTo>
                    <a:lnTo>
                      <a:pt x="1050" y="22362"/>
                    </a:lnTo>
                    <a:lnTo>
                      <a:pt x="1359" y="23103"/>
                    </a:lnTo>
                    <a:lnTo>
                      <a:pt x="1730" y="23844"/>
                    </a:lnTo>
                    <a:lnTo>
                      <a:pt x="2100" y="24585"/>
                    </a:lnTo>
                    <a:lnTo>
                      <a:pt x="2533" y="25265"/>
                    </a:lnTo>
                    <a:lnTo>
                      <a:pt x="2965" y="25944"/>
                    </a:lnTo>
                    <a:lnTo>
                      <a:pt x="3459" y="26624"/>
                    </a:lnTo>
                    <a:lnTo>
                      <a:pt x="4015" y="27241"/>
                    </a:lnTo>
                    <a:lnTo>
                      <a:pt x="4571" y="27859"/>
                    </a:lnTo>
                    <a:lnTo>
                      <a:pt x="5127" y="28415"/>
                    </a:lnTo>
                    <a:lnTo>
                      <a:pt x="5745" y="28971"/>
                    </a:lnTo>
                    <a:lnTo>
                      <a:pt x="6362" y="29465"/>
                    </a:lnTo>
                    <a:lnTo>
                      <a:pt x="7042" y="29959"/>
                    </a:lnTo>
                    <a:lnTo>
                      <a:pt x="7721" y="30453"/>
                    </a:lnTo>
                    <a:lnTo>
                      <a:pt x="8401" y="30886"/>
                    </a:lnTo>
                    <a:lnTo>
                      <a:pt x="9142" y="31256"/>
                    </a:lnTo>
                    <a:lnTo>
                      <a:pt x="9945" y="31627"/>
                    </a:lnTo>
                    <a:lnTo>
                      <a:pt x="10686" y="31998"/>
                    </a:lnTo>
                    <a:lnTo>
                      <a:pt x="11489" y="32307"/>
                    </a:lnTo>
                    <a:lnTo>
                      <a:pt x="12292" y="32554"/>
                    </a:lnTo>
                    <a:lnTo>
                      <a:pt x="13157" y="32739"/>
                    </a:lnTo>
                    <a:lnTo>
                      <a:pt x="13960" y="32924"/>
                    </a:lnTo>
                    <a:lnTo>
                      <a:pt x="14825" y="33110"/>
                    </a:lnTo>
                    <a:lnTo>
                      <a:pt x="15690" y="33171"/>
                    </a:lnTo>
                    <a:lnTo>
                      <a:pt x="16616" y="33233"/>
                    </a:lnTo>
                    <a:lnTo>
                      <a:pt x="17481" y="33295"/>
                    </a:lnTo>
                    <a:lnTo>
                      <a:pt x="18408" y="33233"/>
                    </a:lnTo>
                    <a:lnTo>
                      <a:pt x="19272" y="33171"/>
                    </a:lnTo>
                    <a:lnTo>
                      <a:pt x="20137" y="33110"/>
                    </a:lnTo>
                    <a:lnTo>
                      <a:pt x="21002" y="32924"/>
                    </a:lnTo>
                    <a:lnTo>
                      <a:pt x="21867" y="32739"/>
                    </a:lnTo>
                    <a:lnTo>
                      <a:pt x="22732" y="32554"/>
                    </a:lnTo>
                    <a:lnTo>
                      <a:pt x="23535" y="32307"/>
                    </a:lnTo>
                    <a:lnTo>
                      <a:pt x="24338" y="31998"/>
                    </a:lnTo>
                    <a:lnTo>
                      <a:pt x="25079" y="31627"/>
                    </a:lnTo>
                    <a:lnTo>
                      <a:pt x="25820" y="31256"/>
                    </a:lnTo>
                    <a:lnTo>
                      <a:pt x="26561" y="30886"/>
                    </a:lnTo>
                    <a:lnTo>
                      <a:pt x="27303" y="30453"/>
                    </a:lnTo>
                    <a:lnTo>
                      <a:pt x="27982" y="29959"/>
                    </a:lnTo>
                    <a:lnTo>
                      <a:pt x="28600" y="29465"/>
                    </a:lnTo>
                    <a:lnTo>
                      <a:pt x="29279" y="28971"/>
                    </a:lnTo>
                    <a:lnTo>
                      <a:pt x="29897" y="28415"/>
                    </a:lnTo>
                    <a:lnTo>
                      <a:pt x="30453" y="27859"/>
                    </a:lnTo>
                    <a:lnTo>
                      <a:pt x="31009" y="27241"/>
                    </a:lnTo>
                    <a:lnTo>
                      <a:pt x="31503" y="26624"/>
                    </a:lnTo>
                    <a:lnTo>
                      <a:pt x="31997" y="25944"/>
                    </a:lnTo>
                    <a:lnTo>
                      <a:pt x="32491" y="25265"/>
                    </a:lnTo>
                    <a:lnTo>
                      <a:pt x="32862" y="24585"/>
                    </a:lnTo>
                    <a:lnTo>
                      <a:pt x="33294" y="23844"/>
                    </a:lnTo>
                    <a:lnTo>
                      <a:pt x="33603" y="23103"/>
                    </a:lnTo>
                    <a:lnTo>
                      <a:pt x="33912" y="22362"/>
                    </a:lnTo>
                    <a:lnTo>
                      <a:pt x="34221" y="21620"/>
                    </a:lnTo>
                    <a:lnTo>
                      <a:pt x="34468" y="20817"/>
                    </a:lnTo>
                    <a:lnTo>
                      <a:pt x="34653" y="20014"/>
                    </a:lnTo>
                    <a:lnTo>
                      <a:pt x="34777" y="19211"/>
                    </a:lnTo>
                    <a:lnTo>
                      <a:pt x="34900" y="18347"/>
                    </a:lnTo>
                    <a:lnTo>
                      <a:pt x="34962" y="17482"/>
                    </a:lnTo>
                    <a:lnTo>
                      <a:pt x="35024" y="16679"/>
                    </a:lnTo>
                    <a:lnTo>
                      <a:pt x="34962" y="15814"/>
                    </a:lnTo>
                    <a:lnTo>
                      <a:pt x="34900" y="14949"/>
                    </a:lnTo>
                    <a:lnTo>
                      <a:pt x="34777" y="14084"/>
                    </a:lnTo>
                    <a:lnTo>
                      <a:pt x="34653" y="13281"/>
                    </a:lnTo>
                    <a:lnTo>
                      <a:pt x="34468" y="12478"/>
                    </a:lnTo>
                    <a:lnTo>
                      <a:pt x="34221" y="11675"/>
                    </a:lnTo>
                    <a:lnTo>
                      <a:pt x="33912" y="10934"/>
                    </a:lnTo>
                    <a:lnTo>
                      <a:pt x="33603" y="10193"/>
                    </a:lnTo>
                    <a:lnTo>
                      <a:pt x="33294" y="9452"/>
                    </a:lnTo>
                    <a:lnTo>
                      <a:pt x="32862" y="8710"/>
                    </a:lnTo>
                    <a:lnTo>
                      <a:pt x="32491" y="8031"/>
                    </a:lnTo>
                    <a:lnTo>
                      <a:pt x="31997" y="7351"/>
                    </a:lnTo>
                    <a:lnTo>
                      <a:pt x="31503" y="6672"/>
                    </a:lnTo>
                    <a:lnTo>
                      <a:pt x="31009" y="6054"/>
                    </a:lnTo>
                    <a:lnTo>
                      <a:pt x="30453" y="5437"/>
                    </a:lnTo>
                    <a:lnTo>
                      <a:pt x="29897" y="4881"/>
                    </a:lnTo>
                    <a:lnTo>
                      <a:pt x="29279" y="4325"/>
                    </a:lnTo>
                    <a:lnTo>
                      <a:pt x="28600" y="3831"/>
                    </a:lnTo>
                    <a:lnTo>
                      <a:pt x="27982" y="3336"/>
                    </a:lnTo>
                    <a:lnTo>
                      <a:pt x="27303" y="2842"/>
                    </a:lnTo>
                    <a:lnTo>
                      <a:pt x="26561" y="2410"/>
                    </a:lnTo>
                    <a:lnTo>
                      <a:pt x="25820" y="2039"/>
                    </a:lnTo>
                    <a:lnTo>
                      <a:pt x="25079" y="1669"/>
                    </a:lnTo>
                    <a:lnTo>
                      <a:pt x="24338" y="1298"/>
                    </a:lnTo>
                    <a:lnTo>
                      <a:pt x="23535" y="1051"/>
                    </a:lnTo>
                    <a:lnTo>
                      <a:pt x="22732" y="742"/>
                    </a:lnTo>
                    <a:lnTo>
                      <a:pt x="21867" y="557"/>
                    </a:lnTo>
                    <a:lnTo>
                      <a:pt x="21002" y="371"/>
                    </a:lnTo>
                    <a:lnTo>
                      <a:pt x="20137" y="186"/>
                    </a:lnTo>
                    <a:lnTo>
                      <a:pt x="19272" y="124"/>
                    </a:lnTo>
                    <a:lnTo>
                      <a:pt x="18408" y="63"/>
                    </a:lnTo>
                    <a:lnTo>
                      <a:pt x="17481" y="1"/>
                    </a:lnTo>
                    <a:close/>
                  </a:path>
                </a:pathLst>
              </a:custGeom>
              <a:solidFill>
                <a:srgbClr val="6DD2C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2" name="Google Shape;925;p142">
                <a:extLst>
                  <a:ext uri="{FF2B5EF4-FFF2-40B4-BE49-F238E27FC236}">
                    <a16:creationId xmlns:a16="http://schemas.microsoft.com/office/drawing/2014/main" id="{0E004EBB-17B9-8581-3583-7F181A9C27DF}"/>
                  </a:ext>
                </a:extLst>
              </p:cNvPr>
              <p:cNvSpPr/>
              <p:nvPr/>
            </p:nvSpPr>
            <p:spPr>
              <a:xfrm>
                <a:off x="10817155" y="2252335"/>
                <a:ext cx="408818" cy="388719"/>
              </a:xfrm>
              <a:custGeom>
                <a:avLst/>
                <a:gdLst/>
                <a:ahLst/>
                <a:cxnLst/>
                <a:rect l="l" t="t" r="r" b="b"/>
                <a:pathLst>
                  <a:path w="35024" h="33295" fill="none" extrusionOk="0">
                    <a:moveTo>
                      <a:pt x="17481" y="1"/>
                    </a:moveTo>
                    <a:lnTo>
                      <a:pt x="17481" y="1"/>
                    </a:lnTo>
                    <a:lnTo>
                      <a:pt x="16616" y="63"/>
                    </a:lnTo>
                    <a:lnTo>
                      <a:pt x="15690" y="124"/>
                    </a:lnTo>
                    <a:lnTo>
                      <a:pt x="14825" y="186"/>
                    </a:lnTo>
                    <a:lnTo>
                      <a:pt x="13960" y="371"/>
                    </a:lnTo>
                    <a:lnTo>
                      <a:pt x="13157" y="557"/>
                    </a:lnTo>
                    <a:lnTo>
                      <a:pt x="12292" y="742"/>
                    </a:lnTo>
                    <a:lnTo>
                      <a:pt x="11489" y="1051"/>
                    </a:lnTo>
                    <a:lnTo>
                      <a:pt x="10686" y="1298"/>
                    </a:lnTo>
                    <a:lnTo>
                      <a:pt x="9945" y="1669"/>
                    </a:lnTo>
                    <a:lnTo>
                      <a:pt x="9142" y="2039"/>
                    </a:lnTo>
                    <a:lnTo>
                      <a:pt x="8401" y="2410"/>
                    </a:lnTo>
                    <a:lnTo>
                      <a:pt x="7721" y="2842"/>
                    </a:lnTo>
                    <a:lnTo>
                      <a:pt x="7042" y="3336"/>
                    </a:lnTo>
                    <a:lnTo>
                      <a:pt x="6362" y="3831"/>
                    </a:lnTo>
                    <a:lnTo>
                      <a:pt x="5745" y="4325"/>
                    </a:lnTo>
                    <a:lnTo>
                      <a:pt x="5127" y="4881"/>
                    </a:lnTo>
                    <a:lnTo>
                      <a:pt x="4571" y="5437"/>
                    </a:lnTo>
                    <a:lnTo>
                      <a:pt x="4015" y="6054"/>
                    </a:lnTo>
                    <a:lnTo>
                      <a:pt x="3459" y="6672"/>
                    </a:lnTo>
                    <a:lnTo>
                      <a:pt x="2965" y="7351"/>
                    </a:lnTo>
                    <a:lnTo>
                      <a:pt x="2533" y="8031"/>
                    </a:lnTo>
                    <a:lnTo>
                      <a:pt x="2100" y="8710"/>
                    </a:lnTo>
                    <a:lnTo>
                      <a:pt x="1730" y="9452"/>
                    </a:lnTo>
                    <a:lnTo>
                      <a:pt x="1359" y="10193"/>
                    </a:lnTo>
                    <a:lnTo>
                      <a:pt x="1050" y="10934"/>
                    </a:lnTo>
                    <a:lnTo>
                      <a:pt x="803" y="11675"/>
                    </a:lnTo>
                    <a:lnTo>
                      <a:pt x="556" y="12478"/>
                    </a:lnTo>
                    <a:lnTo>
                      <a:pt x="371" y="13281"/>
                    </a:lnTo>
                    <a:lnTo>
                      <a:pt x="185" y="14084"/>
                    </a:lnTo>
                    <a:lnTo>
                      <a:pt x="124" y="14949"/>
                    </a:lnTo>
                    <a:lnTo>
                      <a:pt x="0" y="15814"/>
                    </a:lnTo>
                    <a:lnTo>
                      <a:pt x="0" y="16679"/>
                    </a:lnTo>
                    <a:lnTo>
                      <a:pt x="0" y="16679"/>
                    </a:lnTo>
                    <a:lnTo>
                      <a:pt x="0" y="17482"/>
                    </a:lnTo>
                    <a:lnTo>
                      <a:pt x="124" y="18347"/>
                    </a:lnTo>
                    <a:lnTo>
                      <a:pt x="185" y="19211"/>
                    </a:lnTo>
                    <a:lnTo>
                      <a:pt x="371" y="20014"/>
                    </a:lnTo>
                    <a:lnTo>
                      <a:pt x="556" y="20817"/>
                    </a:lnTo>
                    <a:lnTo>
                      <a:pt x="803" y="21620"/>
                    </a:lnTo>
                    <a:lnTo>
                      <a:pt x="1050" y="22362"/>
                    </a:lnTo>
                    <a:lnTo>
                      <a:pt x="1359" y="23103"/>
                    </a:lnTo>
                    <a:lnTo>
                      <a:pt x="1730" y="23844"/>
                    </a:lnTo>
                    <a:lnTo>
                      <a:pt x="2100" y="24585"/>
                    </a:lnTo>
                    <a:lnTo>
                      <a:pt x="2533" y="25265"/>
                    </a:lnTo>
                    <a:lnTo>
                      <a:pt x="2965" y="25944"/>
                    </a:lnTo>
                    <a:lnTo>
                      <a:pt x="3459" y="26624"/>
                    </a:lnTo>
                    <a:lnTo>
                      <a:pt x="4015" y="27241"/>
                    </a:lnTo>
                    <a:lnTo>
                      <a:pt x="4571" y="27859"/>
                    </a:lnTo>
                    <a:lnTo>
                      <a:pt x="5127" y="28415"/>
                    </a:lnTo>
                    <a:lnTo>
                      <a:pt x="5745" y="28971"/>
                    </a:lnTo>
                    <a:lnTo>
                      <a:pt x="6362" y="29465"/>
                    </a:lnTo>
                    <a:lnTo>
                      <a:pt x="7042" y="29959"/>
                    </a:lnTo>
                    <a:lnTo>
                      <a:pt x="7721" y="30453"/>
                    </a:lnTo>
                    <a:lnTo>
                      <a:pt x="8401" y="30886"/>
                    </a:lnTo>
                    <a:lnTo>
                      <a:pt x="9142" y="31256"/>
                    </a:lnTo>
                    <a:lnTo>
                      <a:pt x="9945" y="31627"/>
                    </a:lnTo>
                    <a:lnTo>
                      <a:pt x="10686" y="31998"/>
                    </a:lnTo>
                    <a:lnTo>
                      <a:pt x="11489" y="32307"/>
                    </a:lnTo>
                    <a:lnTo>
                      <a:pt x="12292" y="32554"/>
                    </a:lnTo>
                    <a:lnTo>
                      <a:pt x="13157" y="32739"/>
                    </a:lnTo>
                    <a:lnTo>
                      <a:pt x="13960" y="32924"/>
                    </a:lnTo>
                    <a:lnTo>
                      <a:pt x="14825" y="33110"/>
                    </a:lnTo>
                    <a:lnTo>
                      <a:pt x="15690" y="33171"/>
                    </a:lnTo>
                    <a:lnTo>
                      <a:pt x="16616" y="33233"/>
                    </a:lnTo>
                    <a:lnTo>
                      <a:pt x="17481" y="33295"/>
                    </a:lnTo>
                    <a:lnTo>
                      <a:pt x="17481" y="33295"/>
                    </a:lnTo>
                    <a:lnTo>
                      <a:pt x="18408" y="33233"/>
                    </a:lnTo>
                    <a:lnTo>
                      <a:pt x="19272" y="33171"/>
                    </a:lnTo>
                    <a:lnTo>
                      <a:pt x="20137" y="33110"/>
                    </a:lnTo>
                    <a:lnTo>
                      <a:pt x="21002" y="32924"/>
                    </a:lnTo>
                    <a:lnTo>
                      <a:pt x="21867" y="32739"/>
                    </a:lnTo>
                    <a:lnTo>
                      <a:pt x="22732" y="32554"/>
                    </a:lnTo>
                    <a:lnTo>
                      <a:pt x="23535" y="32307"/>
                    </a:lnTo>
                    <a:lnTo>
                      <a:pt x="24338" y="31998"/>
                    </a:lnTo>
                    <a:lnTo>
                      <a:pt x="25079" y="31627"/>
                    </a:lnTo>
                    <a:lnTo>
                      <a:pt x="25820" y="31256"/>
                    </a:lnTo>
                    <a:lnTo>
                      <a:pt x="26561" y="30886"/>
                    </a:lnTo>
                    <a:lnTo>
                      <a:pt x="27303" y="30453"/>
                    </a:lnTo>
                    <a:lnTo>
                      <a:pt x="27982" y="29959"/>
                    </a:lnTo>
                    <a:lnTo>
                      <a:pt x="28600" y="29465"/>
                    </a:lnTo>
                    <a:lnTo>
                      <a:pt x="29279" y="28971"/>
                    </a:lnTo>
                    <a:lnTo>
                      <a:pt x="29897" y="28415"/>
                    </a:lnTo>
                    <a:lnTo>
                      <a:pt x="30453" y="27859"/>
                    </a:lnTo>
                    <a:lnTo>
                      <a:pt x="31009" y="27241"/>
                    </a:lnTo>
                    <a:lnTo>
                      <a:pt x="31503" y="26624"/>
                    </a:lnTo>
                    <a:lnTo>
                      <a:pt x="31997" y="25944"/>
                    </a:lnTo>
                    <a:lnTo>
                      <a:pt x="32491" y="25265"/>
                    </a:lnTo>
                    <a:lnTo>
                      <a:pt x="32862" y="24585"/>
                    </a:lnTo>
                    <a:lnTo>
                      <a:pt x="33294" y="23844"/>
                    </a:lnTo>
                    <a:lnTo>
                      <a:pt x="33603" y="23103"/>
                    </a:lnTo>
                    <a:lnTo>
                      <a:pt x="33912" y="22362"/>
                    </a:lnTo>
                    <a:lnTo>
                      <a:pt x="34221" y="21620"/>
                    </a:lnTo>
                    <a:lnTo>
                      <a:pt x="34468" y="20817"/>
                    </a:lnTo>
                    <a:lnTo>
                      <a:pt x="34653" y="20014"/>
                    </a:lnTo>
                    <a:lnTo>
                      <a:pt x="34777" y="19211"/>
                    </a:lnTo>
                    <a:lnTo>
                      <a:pt x="34900" y="18347"/>
                    </a:lnTo>
                    <a:lnTo>
                      <a:pt x="34962" y="17482"/>
                    </a:lnTo>
                    <a:lnTo>
                      <a:pt x="35024" y="16679"/>
                    </a:lnTo>
                    <a:lnTo>
                      <a:pt x="35024" y="16679"/>
                    </a:lnTo>
                    <a:lnTo>
                      <a:pt x="34962" y="15814"/>
                    </a:lnTo>
                    <a:lnTo>
                      <a:pt x="34900" y="14949"/>
                    </a:lnTo>
                    <a:lnTo>
                      <a:pt x="34777" y="14084"/>
                    </a:lnTo>
                    <a:lnTo>
                      <a:pt x="34653" y="13281"/>
                    </a:lnTo>
                    <a:lnTo>
                      <a:pt x="34468" y="12478"/>
                    </a:lnTo>
                    <a:lnTo>
                      <a:pt x="34221" y="11675"/>
                    </a:lnTo>
                    <a:lnTo>
                      <a:pt x="33912" y="10934"/>
                    </a:lnTo>
                    <a:lnTo>
                      <a:pt x="33603" y="10193"/>
                    </a:lnTo>
                    <a:lnTo>
                      <a:pt x="33294" y="9452"/>
                    </a:lnTo>
                    <a:lnTo>
                      <a:pt x="32862" y="8710"/>
                    </a:lnTo>
                    <a:lnTo>
                      <a:pt x="32491" y="8031"/>
                    </a:lnTo>
                    <a:lnTo>
                      <a:pt x="31997" y="7351"/>
                    </a:lnTo>
                    <a:lnTo>
                      <a:pt x="31503" y="6672"/>
                    </a:lnTo>
                    <a:lnTo>
                      <a:pt x="31009" y="6054"/>
                    </a:lnTo>
                    <a:lnTo>
                      <a:pt x="30453" y="5437"/>
                    </a:lnTo>
                    <a:lnTo>
                      <a:pt x="29897" y="4881"/>
                    </a:lnTo>
                    <a:lnTo>
                      <a:pt x="29279" y="4325"/>
                    </a:lnTo>
                    <a:lnTo>
                      <a:pt x="28600" y="3831"/>
                    </a:lnTo>
                    <a:lnTo>
                      <a:pt x="27982" y="3336"/>
                    </a:lnTo>
                    <a:lnTo>
                      <a:pt x="27303" y="2842"/>
                    </a:lnTo>
                    <a:lnTo>
                      <a:pt x="26561" y="2410"/>
                    </a:lnTo>
                    <a:lnTo>
                      <a:pt x="25820" y="2039"/>
                    </a:lnTo>
                    <a:lnTo>
                      <a:pt x="25079" y="1669"/>
                    </a:lnTo>
                    <a:lnTo>
                      <a:pt x="24338" y="1298"/>
                    </a:lnTo>
                    <a:lnTo>
                      <a:pt x="23535" y="1051"/>
                    </a:lnTo>
                    <a:lnTo>
                      <a:pt x="22732" y="742"/>
                    </a:lnTo>
                    <a:lnTo>
                      <a:pt x="21867" y="557"/>
                    </a:lnTo>
                    <a:lnTo>
                      <a:pt x="21002" y="371"/>
                    </a:lnTo>
                    <a:lnTo>
                      <a:pt x="20137" y="186"/>
                    </a:lnTo>
                    <a:lnTo>
                      <a:pt x="19272" y="124"/>
                    </a:lnTo>
                    <a:lnTo>
                      <a:pt x="18408" y="63"/>
                    </a:lnTo>
                    <a:lnTo>
                      <a:pt x="1748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3" name="Google Shape;926;p142">
                <a:extLst>
                  <a:ext uri="{FF2B5EF4-FFF2-40B4-BE49-F238E27FC236}">
                    <a16:creationId xmlns:a16="http://schemas.microsoft.com/office/drawing/2014/main" id="{C29EF71D-3731-80C7-4E57-1D0B0ADC5434}"/>
                  </a:ext>
                </a:extLst>
              </p:cNvPr>
              <p:cNvSpPr/>
              <p:nvPr/>
            </p:nvSpPr>
            <p:spPr>
              <a:xfrm>
                <a:off x="11070885" y="1978433"/>
                <a:ext cx="515539" cy="514202"/>
              </a:xfrm>
              <a:custGeom>
                <a:avLst/>
                <a:gdLst/>
                <a:ahLst/>
                <a:cxnLst/>
                <a:rect l="l" t="t" r="r" b="b"/>
                <a:pathLst>
                  <a:path w="44167" h="44043" extrusionOk="0">
                    <a:moveTo>
                      <a:pt x="22052" y="0"/>
                    </a:moveTo>
                    <a:lnTo>
                      <a:pt x="20940" y="62"/>
                    </a:lnTo>
                    <a:lnTo>
                      <a:pt x="19829" y="124"/>
                    </a:lnTo>
                    <a:lnTo>
                      <a:pt x="18717" y="247"/>
                    </a:lnTo>
                    <a:lnTo>
                      <a:pt x="17605" y="433"/>
                    </a:lnTo>
                    <a:lnTo>
                      <a:pt x="16555" y="680"/>
                    </a:lnTo>
                    <a:lnTo>
                      <a:pt x="15505" y="989"/>
                    </a:lnTo>
                    <a:lnTo>
                      <a:pt x="14516" y="1359"/>
                    </a:lnTo>
                    <a:lnTo>
                      <a:pt x="13466" y="1730"/>
                    </a:lnTo>
                    <a:lnTo>
                      <a:pt x="12540" y="2162"/>
                    </a:lnTo>
                    <a:lnTo>
                      <a:pt x="11551" y="2656"/>
                    </a:lnTo>
                    <a:lnTo>
                      <a:pt x="10625" y="3212"/>
                    </a:lnTo>
                    <a:lnTo>
                      <a:pt x="9760" y="3768"/>
                    </a:lnTo>
                    <a:lnTo>
                      <a:pt x="8895" y="4386"/>
                    </a:lnTo>
                    <a:lnTo>
                      <a:pt x="8030" y="5004"/>
                    </a:lnTo>
                    <a:lnTo>
                      <a:pt x="7227" y="5745"/>
                    </a:lnTo>
                    <a:lnTo>
                      <a:pt x="6486" y="6424"/>
                    </a:lnTo>
                    <a:lnTo>
                      <a:pt x="5745" y="7227"/>
                    </a:lnTo>
                    <a:lnTo>
                      <a:pt x="5065" y="8030"/>
                    </a:lnTo>
                    <a:lnTo>
                      <a:pt x="4386" y="8833"/>
                    </a:lnTo>
                    <a:lnTo>
                      <a:pt x="3768" y="9698"/>
                    </a:lnTo>
                    <a:lnTo>
                      <a:pt x="3212" y="10625"/>
                    </a:lnTo>
                    <a:lnTo>
                      <a:pt x="2656" y="11551"/>
                    </a:lnTo>
                    <a:lnTo>
                      <a:pt x="2162" y="12478"/>
                    </a:lnTo>
                    <a:lnTo>
                      <a:pt x="1730" y="13466"/>
                    </a:lnTo>
                    <a:lnTo>
                      <a:pt x="1359" y="14454"/>
                    </a:lnTo>
                    <a:lnTo>
                      <a:pt x="989" y="15443"/>
                    </a:lnTo>
                    <a:lnTo>
                      <a:pt x="680" y="16493"/>
                    </a:lnTo>
                    <a:lnTo>
                      <a:pt x="433" y="17605"/>
                    </a:lnTo>
                    <a:lnTo>
                      <a:pt x="247" y="18655"/>
                    </a:lnTo>
                    <a:lnTo>
                      <a:pt x="124" y="19767"/>
                    </a:lnTo>
                    <a:lnTo>
                      <a:pt x="62" y="20879"/>
                    </a:lnTo>
                    <a:lnTo>
                      <a:pt x="0" y="21990"/>
                    </a:lnTo>
                    <a:lnTo>
                      <a:pt x="62" y="23164"/>
                    </a:lnTo>
                    <a:lnTo>
                      <a:pt x="124" y="24276"/>
                    </a:lnTo>
                    <a:lnTo>
                      <a:pt x="247" y="25388"/>
                    </a:lnTo>
                    <a:lnTo>
                      <a:pt x="433" y="26438"/>
                    </a:lnTo>
                    <a:lnTo>
                      <a:pt x="680" y="27550"/>
                    </a:lnTo>
                    <a:lnTo>
                      <a:pt x="989" y="28538"/>
                    </a:lnTo>
                    <a:lnTo>
                      <a:pt x="1359" y="29588"/>
                    </a:lnTo>
                    <a:lnTo>
                      <a:pt x="1730" y="30576"/>
                    </a:lnTo>
                    <a:lnTo>
                      <a:pt x="2162" y="31565"/>
                    </a:lnTo>
                    <a:lnTo>
                      <a:pt x="2656" y="32491"/>
                    </a:lnTo>
                    <a:lnTo>
                      <a:pt x="3212" y="33418"/>
                    </a:lnTo>
                    <a:lnTo>
                      <a:pt x="3768" y="34344"/>
                    </a:lnTo>
                    <a:lnTo>
                      <a:pt x="4386" y="35209"/>
                    </a:lnTo>
                    <a:lnTo>
                      <a:pt x="5065" y="36012"/>
                    </a:lnTo>
                    <a:lnTo>
                      <a:pt x="5745" y="36815"/>
                    </a:lnTo>
                    <a:lnTo>
                      <a:pt x="6486" y="37556"/>
                    </a:lnTo>
                    <a:lnTo>
                      <a:pt x="7227" y="38298"/>
                    </a:lnTo>
                    <a:lnTo>
                      <a:pt x="8030" y="38977"/>
                    </a:lnTo>
                    <a:lnTo>
                      <a:pt x="8895" y="39657"/>
                    </a:lnTo>
                    <a:lnTo>
                      <a:pt x="9760" y="40274"/>
                    </a:lnTo>
                    <a:lnTo>
                      <a:pt x="10625" y="40830"/>
                    </a:lnTo>
                    <a:lnTo>
                      <a:pt x="11551" y="41386"/>
                    </a:lnTo>
                    <a:lnTo>
                      <a:pt x="12540" y="41880"/>
                    </a:lnTo>
                    <a:lnTo>
                      <a:pt x="13466" y="42313"/>
                    </a:lnTo>
                    <a:lnTo>
                      <a:pt x="14516" y="42683"/>
                    </a:lnTo>
                    <a:lnTo>
                      <a:pt x="15505" y="43054"/>
                    </a:lnTo>
                    <a:lnTo>
                      <a:pt x="16555" y="43363"/>
                    </a:lnTo>
                    <a:lnTo>
                      <a:pt x="17605" y="43610"/>
                    </a:lnTo>
                    <a:lnTo>
                      <a:pt x="18717" y="43795"/>
                    </a:lnTo>
                    <a:lnTo>
                      <a:pt x="19829" y="43919"/>
                    </a:lnTo>
                    <a:lnTo>
                      <a:pt x="20940" y="43980"/>
                    </a:lnTo>
                    <a:lnTo>
                      <a:pt x="22052" y="44042"/>
                    </a:lnTo>
                    <a:lnTo>
                      <a:pt x="23226" y="43980"/>
                    </a:lnTo>
                    <a:lnTo>
                      <a:pt x="24338" y="43919"/>
                    </a:lnTo>
                    <a:lnTo>
                      <a:pt x="25450" y="43795"/>
                    </a:lnTo>
                    <a:lnTo>
                      <a:pt x="26500" y="43610"/>
                    </a:lnTo>
                    <a:lnTo>
                      <a:pt x="27612" y="43363"/>
                    </a:lnTo>
                    <a:lnTo>
                      <a:pt x="28662" y="43054"/>
                    </a:lnTo>
                    <a:lnTo>
                      <a:pt x="29650" y="42683"/>
                    </a:lnTo>
                    <a:lnTo>
                      <a:pt x="30700" y="42313"/>
                    </a:lnTo>
                    <a:lnTo>
                      <a:pt x="31627" y="41880"/>
                    </a:lnTo>
                    <a:lnTo>
                      <a:pt x="32615" y="41386"/>
                    </a:lnTo>
                    <a:lnTo>
                      <a:pt x="33542" y="40830"/>
                    </a:lnTo>
                    <a:lnTo>
                      <a:pt x="34406" y="40274"/>
                    </a:lnTo>
                    <a:lnTo>
                      <a:pt x="35271" y="39657"/>
                    </a:lnTo>
                    <a:lnTo>
                      <a:pt x="36136" y="38977"/>
                    </a:lnTo>
                    <a:lnTo>
                      <a:pt x="36939" y="38298"/>
                    </a:lnTo>
                    <a:lnTo>
                      <a:pt x="37680" y="37556"/>
                    </a:lnTo>
                    <a:lnTo>
                      <a:pt x="38421" y="36815"/>
                    </a:lnTo>
                    <a:lnTo>
                      <a:pt x="39101" y="36012"/>
                    </a:lnTo>
                    <a:lnTo>
                      <a:pt x="39780" y="35209"/>
                    </a:lnTo>
                    <a:lnTo>
                      <a:pt x="40398" y="34344"/>
                    </a:lnTo>
                    <a:lnTo>
                      <a:pt x="40954" y="33418"/>
                    </a:lnTo>
                    <a:lnTo>
                      <a:pt x="41510" y="32491"/>
                    </a:lnTo>
                    <a:lnTo>
                      <a:pt x="42004" y="31565"/>
                    </a:lnTo>
                    <a:lnTo>
                      <a:pt x="42436" y="30576"/>
                    </a:lnTo>
                    <a:lnTo>
                      <a:pt x="42807" y="29588"/>
                    </a:lnTo>
                    <a:lnTo>
                      <a:pt x="43178" y="28538"/>
                    </a:lnTo>
                    <a:lnTo>
                      <a:pt x="43487" y="27550"/>
                    </a:lnTo>
                    <a:lnTo>
                      <a:pt x="43734" y="26438"/>
                    </a:lnTo>
                    <a:lnTo>
                      <a:pt x="43919" y="25388"/>
                    </a:lnTo>
                    <a:lnTo>
                      <a:pt x="44043" y="24276"/>
                    </a:lnTo>
                    <a:lnTo>
                      <a:pt x="44104" y="23164"/>
                    </a:lnTo>
                    <a:lnTo>
                      <a:pt x="44166" y="21990"/>
                    </a:lnTo>
                    <a:lnTo>
                      <a:pt x="44104" y="20879"/>
                    </a:lnTo>
                    <a:lnTo>
                      <a:pt x="44043" y="19767"/>
                    </a:lnTo>
                    <a:lnTo>
                      <a:pt x="43919" y="18655"/>
                    </a:lnTo>
                    <a:lnTo>
                      <a:pt x="43734" y="17605"/>
                    </a:lnTo>
                    <a:lnTo>
                      <a:pt x="43487" y="16493"/>
                    </a:lnTo>
                    <a:lnTo>
                      <a:pt x="43178" y="15443"/>
                    </a:lnTo>
                    <a:lnTo>
                      <a:pt x="42807" y="14454"/>
                    </a:lnTo>
                    <a:lnTo>
                      <a:pt x="42436" y="13466"/>
                    </a:lnTo>
                    <a:lnTo>
                      <a:pt x="42004" y="12478"/>
                    </a:lnTo>
                    <a:lnTo>
                      <a:pt x="41510" y="11551"/>
                    </a:lnTo>
                    <a:lnTo>
                      <a:pt x="40954" y="10625"/>
                    </a:lnTo>
                    <a:lnTo>
                      <a:pt x="40398" y="9698"/>
                    </a:lnTo>
                    <a:lnTo>
                      <a:pt x="39780" y="8833"/>
                    </a:lnTo>
                    <a:lnTo>
                      <a:pt x="39101" y="8030"/>
                    </a:lnTo>
                    <a:lnTo>
                      <a:pt x="38421" y="7227"/>
                    </a:lnTo>
                    <a:lnTo>
                      <a:pt x="37680" y="6424"/>
                    </a:lnTo>
                    <a:lnTo>
                      <a:pt x="36939" y="5745"/>
                    </a:lnTo>
                    <a:lnTo>
                      <a:pt x="36136" y="5004"/>
                    </a:lnTo>
                    <a:lnTo>
                      <a:pt x="35271" y="4386"/>
                    </a:lnTo>
                    <a:lnTo>
                      <a:pt x="34406" y="3768"/>
                    </a:lnTo>
                    <a:lnTo>
                      <a:pt x="33542" y="3212"/>
                    </a:lnTo>
                    <a:lnTo>
                      <a:pt x="32615" y="2656"/>
                    </a:lnTo>
                    <a:lnTo>
                      <a:pt x="31627" y="2162"/>
                    </a:lnTo>
                    <a:lnTo>
                      <a:pt x="30700" y="1730"/>
                    </a:lnTo>
                    <a:lnTo>
                      <a:pt x="29650" y="1359"/>
                    </a:lnTo>
                    <a:lnTo>
                      <a:pt x="28662" y="989"/>
                    </a:lnTo>
                    <a:lnTo>
                      <a:pt x="27612" y="680"/>
                    </a:lnTo>
                    <a:lnTo>
                      <a:pt x="26500" y="433"/>
                    </a:lnTo>
                    <a:lnTo>
                      <a:pt x="25450" y="247"/>
                    </a:lnTo>
                    <a:lnTo>
                      <a:pt x="24338" y="124"/>
                    </a:lnTo>
                    <a:lnTo>
                      <a:pt x="23226" y="62"/>
                    </a:lnTo>
                    <a:lnTo>
                      <a:pt x="22052" y="0"/>
                    </a:lnTo>
                    <a:close/>
                  </a:path>
                </a:pathLst>
              </a:custGeom>
              <a:solidFill>
                <a:srgbClr val="6DD2C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4" name="Google Shape;927;p142">
                <a:extLst>
                  <a:ext uri="{FF2B5EF4-FFF2-40B4-BE49-F238E27FC236}">
                    <a16:creationId xmlns:a16="http://schemas.microsoft.com/office/drawing/2014/main" id="{593E8470-D98B-77CA-1506-D6ED2DBE9A7F}"/>
                  </a:ext>
                </a:extLst>
              </p:cNvPr>
              <p:cNvSpPr/>
              <p:nvPr/>
            </p:nvSpPr>
            <p:spPr>
              <a:xfrm>
                <a:off x="10887791" y="2001492"/>
                <a:ext cx="468674" cy="467327"/>
              </a:xfrm>
              <a:custGeom>
                <a:avLst/>
                <a:gdLst/>
                <a:ahLst/>
                <a:cxnLst/>
                <a:rect l="l" t="t" r="r" b="b"/>
                <a:pathLst>
                  <a:path w="40152" h="40028" extrusionOk="0">
                    <a:moveTo>
                      <a:pt x="19088" y="1"/>
                    </a:moveTo>
                    <a:lnTo>
                      <a:pt x="18037" y="63"/>
                    </a:lnTo>
                    <a:lnTo>
                      <a:pt x="17049" y="186"/>
                    </a:lnTo>
                    <a:lnTo>
                      <a:pt x="16061" y="372"/>
                    </a:lnTo>
                    <a:lnTo>
                      <a:pt x="15072" y="619"/>
                    </a:lnTo>
                    <a:lnTo>
                      <a:pt x="14146" y="866"/>
                    </a:lnTo>
                    <a:lnTo>
                      <a:pt x="13158" y="1175"/>
                    </a:lnTo>
                    <a:lnTo>
                      <a:pt x="12293" y="1545"/>
                    </a:lnTo>
                    <a:lnTo>
                      <a:pt x="11366" y="1978"/>
                    </a:lnTo>
                    <a:lnTo>
                      <a:pt x="10501" y="2410"/>
                    </a:lnTo>
                    <a:lnTo>
                      <a:pt x="9698" y="2904"/>
                    </a:lnTo>
                    <a:lnTo>
                      <a:pt x="8834" y="3398"/>
                    </a:lnTo>
                    <a:lnTo>
                      <a:pt x="8092" y="3954"/>
                    </a:lnTo>
                    <a:lnTo>
                      <a:pt x="7289" y="4572"/>
                    </a:lnTo>
                    <a:lnTo>
                      <a:pt x="6610" y="5190"/>
                    </a:lnTo>
                    <a:lnTo>
                      <a:pt x="5869" y="5869"/>
                    </a:lnTo>
                    <a:lnTo>
                      <a:pt x="5251" y="6549"/>
                    </a:lnTo>
                    <a:lnTo>
                      <a:pt x="4572" y="7290"/>
                    </a:lnTo>
                    <a:lnTo>
                      <a:pt x="4016" y="8031"/>
                    </a:lnTo>
                    <a:lnTo>
                      <a:pt x="3460" y="8834"/>
                    </a:lnTo>
                    <a:lnTo>
                      <a:pt x="2904" y="9637"/>
                    </a:lnTo>
                    <a:lnTo>
                      <a:pt x="2410" y="10502"/>
                    </a:lnTo>
                    <a:lnTo>
                      <a:pt x="1977" y="11305"/>
                    </a:lnTo>
                    <a:lnTo>
                      <a:pt x="1607" y="12231"/>
                    </a:lnTo>
                    <a:lnTo>
                      <a:pt x="1236" y="13158"/>
                    </a:lnTo>
                    <a:lnTo>
                      <a:pt x="927" y="14084"/>
                    </a:lnTo>
                    <a:lnTo>
                      <a:pt x="618" y="15011"/>
                    </a:lnTo>
                    <a:lnTo>
                      <a:pt x="433" y="15999"/>
                    </a:lnTo>
                    <a:lnTo>
                      <a:pt x="248" y="16988"/>
                    </a:lnTo>
                    <a:lnTo>
                      <a:pt x="124" y="17976"/>
                    </a:lnTo>
                    <a:lnTo>
                      <a:pt x="62" y="18964"/>
                    </a:lnTo>
                    <a:lnTo>
                      <a:pt x="1" y="20014"/>
                    </a:lnTo>
                    <a:lnTo>
                      <a:pt x="62" y="21064"/>
                    </a:lnTo>
                    <a:lnTo>
                      <a:pt x="124" y="22053"/>
                    </a:lnTo>
                    <a:lnTo>
                      <a:pt x="248" y="23103"/>
                    </a:lnTo>
                    <a:lnTo>
                      <a:pt x="433" y="24029"/>
                    </a:lnTo>
                    <a:lnTo>
                      <a:pt x="618" y="25018"/>
                    </a:lnTo>
                    <a:lnTo>
                      <a:pt x="927" y="26006"/>
                    </a:lnTo>
                    <a:lnTo>
                      <a:pt x="1236" y="26933"/>
                    </a:lnTo>
                    <a:lnTo>
                      <a:pt x="1607" y="27797"/>
                    </a:lnTo>
                    <a:lnTo>
                      <a:pt x="1977" y="28724"/>
                    </a:lnTo>
                    <a:lnTo>
                      <a:pt x="2410" y="29589"/>
                    </a:lnTo>
                    <a:lnTo>
                      <a:pt x="2904" y="30392"/>
                    </a:lnTo>
                    <a:lnTo>
                      <a:pt x="3460" y="31195"/>
                    </a:lnTo>
                    <a:lnTo>
                      <a:pt x="4016" y="31998"/>
                    </a:lnTo>
                    <a:lnTo>
                      <a:pt x="4572" y="32739"/>
                    </a:lnTo>
                    <a:lnTo>
                      <a:pt x="5251" y="33480"/>
                    </a:lnTo>
                    <a:lnTo>
                      <a:pt x="5869" y="34160"/>
                    </a:lnTo>
                    <a:lnTo>
                      <a:pt x="6610" y="34839"/>
                    </a:lnTo>
                    <a:lnTo>
                      <a:pt x="7289" y="35457"/>
                    </a:lnTo>
                    <a:lnTo>
                      <a:pt x="8092" y="36075"/>
                    </a:lnTo>
                    <a:lnTo>
                      <a:pt x="8834" y="36630"/>
                    </a:lnTo>
                    <a:lnTo>
                      <a:pt x="9698" y="37186"/>
                    </a:lnTo>
                    <a:lnTo>
                      <a:pt x="10501" y="37619"/>
                    </a:lnTo>
                    <a:lnTo>
                      <a:pt x="11366" y="38051"/>
                    </a:lnTo>
                    <a:lnTo>
                      <a:pt x="12293" y="38484"/>
                    </a:lnTo>
                    <a:lnTo>
                      <a:pt x="13158" y="38854"/>
                    </a:lnTo>
                    <a:lnTo>
                      <a:pt x="14146" y="39163"/>
                    </a:lnTo>
                    <a:lnTo>
                      <a:pt x="15072" y="39410"/>
                    </a:lnTo>
                    <a:lnTo>
                      <a:pt x="16061" y="39657"/>
                    </a:lnTo>
                    <a:lnTo>
                      <a:pt x="17049" y="39843"/>
                    </a:lnTo>
                    <a:lnTo>
                      <a:pt x="18037" y="39966"/>
                    </a:lnTo>
                    <a:lnTo>
                      <a:pt x="19088" y="40028"/>
                    </a:lnTo>
                    <a:lnTo>
                      <a:pt x="21126" y="40028"/>
                    </a:lnTo>
                    <a:lnTo>
                      <a:pt x="22114" y="39966"/>
                    </a:lnTo>
                    <a:lnTo>
                      <a:pt x="23164" y="39843"/>
                    </a:lnTo>
                    <a:lnTo>
                      <a:pt x="24153" y="39657"/>
                    </a:lnTo>
                    <a:lnTo>
                      <a:pt x="25141" y="39410"/>
                    </a:lnTo>
                    <a:lnTo>
                      <a:pt x="26068" y="39163"/>
                    </a:lnTo>
                    <a:lnTo>
                      <a:pt x="26994" y="38854"/>
                    </a:lnTo>
                    <a:lnTo>
                      <a:pt x="27921" y="38484"/>
                    </a:lnTo>
                    <a:lnTo>
                      <a:pt x="28786" y="38051"/>
                    </a:lnTo>
                    <a:lnTo>
                      <a:pt x="29650" y="37619"/>
                    </a:lnTo>
                    <a:lnTo>
                      <a:pt x="30515" y="37186"/>
                    </a:lnTo>
                    <a:lnTo>
                      <a:pt x="31318" y="36630"/>
                    </a:lnTo>
                    <a:lnTo>
                      <a:pt x="32121" y="36075"/>
                    </a:lnTo>
                    <a:lnTo>
                      <a:pt x="32862" y="35457"/>
                    </a:lnTo>
                    <a:lnTo>
                      <a:pt x="33604" y="34839"/>
                    </a:lnTo>
                    <a:lnTo>
                      <a:pt x="34283" y="34160"/>
                    </a:lnTo>
                    <a:lnTo>
                      <a:pt x="34963" y="33480"/>
                    </a:lnTo>
                    <a:lnTo>
                      <a:pt x="35580" y="32739"/>
                    </a:lnTo>
                    <a:lnTo>
                      <a:pt x="36198" y="31998"/>
                    </a:lnTo>
                    <a:lnTo>
                      <a:pt x="36754" y="31195"/>
                    </a:lnTo>
                    <a:lnTo>
                      <a:pt x="37248" y="30392"/>
                    </a:lnTo>
                    <a:lnTo>
                      <a:pt x="37742" y="29589"/>
                    </a:lnTo>
                    <a:lnTo>
                      <a:pt x="38175" y="28724"/>
                    </a:lnTo>
                    <a:lnTo>
                      <a:pt x="38607" y="27797"/>
                    </a:lnTo>
                    <a:lnTo>
                      <a:pt x="38978" y="26933"/>
                    </a:lnTo>
                    <a:lnTo>
                      <a:pt x="39286" y="26006"/>
                    </a:lnTo>
                    <a:lnTo>
                      <a:pt x="39534" y="25018"/>
                    </a:lnTo>
                    <a:lnTo>
                      <a:pt x="39781" y="24029"/>
                    </a:lnTo>
                    <a:lnTo>
                      <a:pt x="39966" y="23103"/>
                    </a:lnTo>
                    <a:lnTo>
                      <a:pt x="40090" y="22053"/>
                    </a:lnTo>
                    <a:lnTo>
                      <a:pt x="40151" y="21064"/>
                    </a:lnTo>
                    <a:lnTo>
                      <a:pt x="40151" y="20014"/>
                    </a:lnTo>
                    <a:lnTo>
                      <a:pt x="40151" y="18964"/>
                    </a:lnTo>
                    <a:lnTo>
                      <a:pt x="40090" y="17976"/>
                    </a:lnTo>
                    <a:lnTo>
                      <a:pt x="39966" y="16988"/>
                    </a:lnTo>
                    <a:lnTo>
                      <a:pt x="39781" y="15999"/>
                    </a:lnTo>
                    <a:lnTo>
                      <a:pt x="39534" y="15011"/>
                    </a:lnTo>
                    <a:lnTo>
                      <a:pt x="39286" y="14084"/>
                    </a:lnTo>
                    <a:lnTo>
                      <a:pt x="38978" y="13158"/>
                    </a:lnTo>
                    <a:lnTo>
                      <a:pt x="38607" y="12231"/>
                    </a:lnTo>
                    <a:lnTo>
                      <a:pt x="38175" y="11305"/>
                    </a:lnTo>
                    <a:lnTo>
                      <a:pt x="37742" y="10502"/>
                    </a:lnTo>
                    <a:lnTo>
                      <a:pt x="37248" y="9637"/>
                    </a:lnTo>
                    <a:lnTo>
                      <a:pt x="36754" y="8834"/>
                    </a:lnTo>
                    <a:lnTo>
                      <a:pt x="36198" y="8031"/>
                    </a:lnTo>
                    <a:lnTo>
                      <a:pt x="35580" y="7290"/>
                    </a:lnTo>
                    <a:lnTo>
                      <a:pt x="34963" y="6549"/>
                    </a:lnTo>
                    <a:lnTo>
                      <a:pt x="34283" y="5869"/>
                    </a:lnTo>
                    <a:lnTo>
                      <a:pt x="33604" y="5190"/>
                    </a:lnTo>
                    <a:lnTo>
                      <a:pt x="32862" y="4572"/>
                    </a:lnTo>
                    <a:lnTo>
                      <a:pt x="32121" y="3954"/>
                    </a:lnTo>
                    <a:lnTo>
                      <a:pt x="31318" y="3398"/>
                    </a:lnTo>
                    <a:lnTo>
                      <a:pt x="30515" y="2904"/>
                    </a:lnTo>
                    <a:lnTo>
                      <a:pt x="29650" y="2410"/>
                    </a:lnTo>
                    <a:lnTo>
                      <a:pt x="28786" y="1978"/>
                    </a:lnTo>
                    <a:lnTo>
                      <a:pt x="27921" y="1545"/>
                    </a:lnTo>
                    <a:lnTo>
                      <a:pt x="26994" y="1175"/>
                    </a:lnTo>
                    <a:lnTo>
                      <a:pt x="26068" y="866"/>
                    </a:lnTo>
                    <a:lnTo>
                      <a:pt x="25141" y="619"/>
                    </a:lnTo>
                    <a:lnTo>
                      <a:pt x="24153" y="372"/>
                    </a:lnTo>
                    <a:lnTo>
                      <a:pt x="23164" y="186"/>
                    </a:lnTo>
                    <a:lnTo>
                      <a:pt x="22114" y="63"/>
                    </a:lnTo>
                    <a:lnTo>
                      <a:pt x="21126" y="1"/>
                    </a:lnTo>
                    <a:close/>
                  </a:path>
                </a:pathLst>
              </a:custGeom>
              <a:solidFill>
                <a:srgbClr val="6DD2C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5" name="Google Shape;928;p142">
                <a:extLst>
                  <a:ext uri="{FF2B5EF4-FFF2-40B4-BE49-F238E27FC236}">
                    <a16:creationId xmlns:a16="http://schemas.microsoft.com/office/drawing/2014/main" id="{153BDD2C-A7B2-326B-866D-2DBCDC92AE0F}"/>
                  </a:ext>
                </a:extLst>
              </p:cNvPr>
              <p:cNvSpPr/>
              <p:nvPr/>
            </p:nvSpPr>
            <p:spPr>
              <a:xfrm>
                <a:off x="11243886" y="2705009"/>
                <a:ext cx="12980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112" h="63" extrusionOk="0">
                    <a:moveTo>
                      <a:pt x="741" y="62"/>
                    </a:moveTo>
                    <a:lnTo>
                      <a:pt x="741" y="62"/>
                    </a:lnTo>
                    <a:lnTo>
                      <a:pt x="741" y="62"/>
                    </a:lnTo>
                    <a:lnTo>
                      <a:pt x="741" y="62"/>
                    </a:lnTo>
                    <a:lnTo>
                      <a:pt x="741" y="62"/>
                    </a:lnTo>
                    <a:close/>
                    <a:moveTo>
                      <a:pt x="680" y="62"/>
                    </a:moveTo>
                    <a:lnTo>
                      <a:pt x="680" y="62"/>
                    </a:lnTo>
                    <a:lnTo>
                      <a:pt x="741" y="62"/>
                    </a:lnTo>
                    <a:lnTo>
                      <a:pt x="741" y="62"/>
                    </a:lnTo>
                    <a:lnTo>
                      <a:pt x="680" y="62"/>
                    </a:lnTo>
                    <a:close/>
                    <a:moveTo>
                      <a:pt x="741" y="62"/>
                    </a:moveTo>
                    <a:lnTo>
                      <a:pt x="741" y="62"/>
                    </a:lnTo>
                    <a:lnTo>
                      <a:pt x="741" y="62"/>
                    </a:lnTo>
                    <a:lnTo>
                      <a:pt x="741" y="62"/>
                    </a:lnTo>
                    <a:lnTo>
                      <a:pt x="741" y="62"/>
                    </a:lnTo>
                    <a:close/>
                    <a:moveTo>
                      <a:pt x="680" y="62"/>
                    </a:moveTo>
                    <a:lnTo>
                      <a:pt x="680" y="62"/>
                    </a:lnTo>
                    <a:lnTo>
                      <a:pt x="680" y="62"/>
                    </a:lnTo>
                    <a:lnTo>
                      <a:pt x="680" y="62"/>
                    </a:lnTo>
                    <a:lnTo>
                      <a:pt x="680" y="62"/>
                    </a:lnTo>
                    <a:close/>
                    <a:moveTo>
                      <a:pt x="618" y="62"/>
                    </a:moveTo>
                    <a:lnTo>
                      <a:pt x="618" y="62"/>
                    </a:lnTo>
                    <a:lnTo>
                      <a:pt x="680" y="62"/>
                    </a:lnTo>
                    <a:lnTo>
                      <a:pt x="680" y="62"/>
                    </a:lnTo>
                    <a:lnTo>
                      <a:pt x="618" y="62"/>
                    </a:lnTo>
                    <a:close/>
                    <a:moveTo>
                      <a:pt x="618" y="62"/>
                    </a:move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close/>
                    <a:moveTo>
                      <a:pt x="803" y="62"/>
                    </a:moveTo>
                    <a:lnTo>
                      <a:pt x="803" y="62"/>
                    </a:lnTo>
                    <a:lnTo>
                      <a:pt x="741" y="62"/>
                    </a:lnTo>
                    <a:lnTo>
                      <a:pt x="741" y="62"/>
                    </a:lnTo>
                    <a:lnTo>
                      <a:pt x="803" y="62"/>
                    </a:lnTo>
                    <a:close/>
                    <a:moveTo>
                      <a:pt x="618" y="62"/>
                    </a:move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close/>
                    <a:moveTo>
                      <a:pt x="865" y="62"/>
                    </a:moveTo>
                    <a:lnTo>
                      <a:pt x="865" y="62"/>
                    </a:lnTo>
                    <a:lnTo>
                      <a:pt x="803" y="62"/>
                    </a:lnTo>
                    <a:lnTo>
                      <a:pt x="803" y="62"/>
                    </a:lnTo>
                    <a:lnTo>
                      <a:pt x="865" y="62"/>
                    </a:lnTo>
                    <a:close/>
                    <a:moveTo>
                      <a:pt x="556" y="62"/>
                    </a:moveTo>
                    <a:lnTo>
                      <a:pt x="556" y="62"/>
                    </a:lnTo>
                    <a:lnTo>
                      <a:pt x="556" y="62"/>
                    </a:lnTo>
                    <a:lnTo>
                      <a:pt x="556" y="62"/>
                    </a:lnTo>
                    <a:lnTo>
                      <a:pt x="556" y="62"/>
                    </a:lnTo>
                    <a:close/>
                    <a:moveTo>
                      <a:pt x="865" y="62"/>
                    </a:moveTo>
                    <a:lnTo>
                      <a:pt x="865" y="62"/>
                    </a:lnTo>
                    <a:lnTo>
                      <a:pt x="865" y="62"/>
                    </a:lnTo>
                    <a:lnTo>
                      <a:pt x="865" y="62"/>
                    </a:lnTo>
                    <a:lnTo>
                      <a:pt x="865" y="62"/>
                    </a:lnTo>
                    <a:close/>
                    <a:moveTo>
                      <a:pt x="865" y="62"/>
                    </a:moveTo>
                    <a:lnTo>
                      <a:pt x="865" y="62"/>
                    </a:lnTo>
                    <a:lnTo>
                      <a:pt x="865" y="62"/>
                    </a:lnTo>
                    <a:lnTo>
                      <a:pt x="865" y="62"/>
                    </a:lnTo>
                    <a:lnTo>
                      <a:pt x="865" y="62"/>
                    </a:lnTo>
                    <a:close/>
                    <a:moveTo>
                      <a:pt x="556" y="62"/>
                    </a:moveTo>
                    <a:lnTo>
                      <a:pt x="556" y="62"/>
                    </a:lnTo>
                    <a:lnTo>
                      <a:pt x="556" y="62"/>
                    </a:lnTo>
                    <a:lnTo>
                      <a:pt x="556" y="62"/>
                    </a:lnTo>
                    <a:lnTo>
                      <a:pt x="556" y="62"/>
                    </a:lnTo>
                    <a:close/>
                    <a:moveTo>
                      <a:pt x="927" y="62"/>
                    </a:moveTo>
                    <a:lnTo>
                      <a:pt x="927" y="62"/>
                    </a:lnTo>
                    <a:lnTo>
                      <a:pt x="927" y="62"/>
                    </a:lnTo>
                    <a:lnTo>
                      <a:pt x="927" y="62"/>
                    </a:lnTo>
                    <a:lnTo>
                      <a:pt x="927" y="62"/>
                    </a:lnTo>
                    <a:close/>
                    <a:moveTo>
                      <a:pt x="494" y="62"/>
                    </a:moveTo>
                    <a:lnTo>
                      <a:pt x="494" y="62"/>
                    </a:lnTo>
                    <a:lnTo>
                      <a:pt x="556" y="62"/>
                    </a:lnTo>
                    <a:lnTo>
                      <a:pt x="556" y="62"/>
                    </a:lnTo>
                    <a:lnTo>
                      <a:pt x="494" y="62"/>
                    </a:lnTo>
                    <a:close/>
                    <a:moveTo>
                      <a:pt x="494" y="62"/>
                    </a:move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62"/>
                    </a:lnTo>
                    <a:close/>
                    <a:moveTo>
                      <a:pt x="927" y="62"/>
                    </a:moveTo>
                    <a:lnTo>
                      <a:pt x="927" y="62"/>
                    </a:lnTo>
                    <a:lnTo>
                      <a:pt x="927" y="62"/>
                    </a:lnTo>
                    <a:lnTo>
                      <a:pt x="927" y="62"/>
                    </a:lnTo>
                    <a:lnTo>
                      <a:pt x="927" y="62"/>
                    </a:lnTo>
                    <a:close/>
                    <a:moveTo>
                      <a:pt x="494" y="62"/>
                    </a:move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62"/>
                    </a:lnTo>
                    <a:close/>
                    <a:moveTo>
                      <a:pt x="988" y="62"/>
                    </a:moveTo>
                    <a:lnTo>
                      <a:pt x="988" y="62"/>
                    </a:lnTo>
                    <a:lnTo>
                      <a:pt x="927" y="62"/>
                    </a:lnTo>
                    <a:lnTo>
                      <a:pt x="927" y="62"/>
                    </a:lnTo>
                    <a:lnTo>
                      <a:pt x="988" y="62"/>
                    </a:lnTo>
                    <a:close/>
                    <a:moveTo>
                      <a:pt x="432" y="62"/>
                    </a:moveTo>
                    <a:lnTo>
                      <a:pt x="432" y="62"/>
                    </a:lnTo>
                    <a:lnTo>
                      <a:pt x="432" y="62"/>
                    </a:lnTo>
                    <a:lnTo>
                      <a:pt x="432" y="62"/>
                    </a:lnTo>
                    <a:lnTo>
                      <a:pt x="432" y="62"/>
                    </a:lnTo>
                    <a:close/>
                    <a:moveTo>
                      <a:pt x="988" y="62"/>
                    </a:moveTo>
                    <a:lnTo>
                      <a:pt x="988" y="62"/>
                    </a:lnTo>
                    <a:lnTo>
                      <a:pt x="988" y="62"/>
                    </a:lnTo>
                    <a:lnTo>
                      <a:pt x="988" y="62"/>
                    </a:lnTo>
                    <a:lnTo>
                      <a:pt x="988" y="62"/>
                    </a:lnTo>
                    <a:close/>
                    <a:moveTo>
                      <a:pt x="432" y="62"/>
                    </a:moveTo>
                    <a:lnTo>
                      <a:pt x="432" y="62"/>
                    </a:lnTo>
                    <a:lnTo>
                      <a:pt x="432" y="62"/>
                    </a:lnTo>
                    <a:lnTo>
                      <a:pt x="432" y="62"/>
                    </a:lnTo>
                    <a:lnTo>
                      <a:pt x="432" y="62"/>
                    </a:lnTo>
                    <a:close/>
                    <a:moveTo>
                      <a:pt x="1050" y="62"/>
                    </a:moveTo>
                    <a:lnTo>
                      <a:pt x="1050" y="62"/>
                    </a:lnTo>
                    <a:lnTo>
                      <a:pt x="988" y="62"/>
                    </a:lnTo>
                    <a:lnTo>
                      <a:pt x="988" y="62"/>
                    </a:lnTo>
                    <a:lnTo>
                      <a:pt x="1050" y="62"/>
                    </a:lnTo>
                    <a:close/>
                    <a:moveTo>
                      <a:pt x="1050" y="62"/>
                    </a:moveTo>
                    <a:lnTo>
                      <a:pt x="1050" y="62"/>
                    </a:lnTo>
                    <a:lnTo>
                      <a:pt x="1050" y="62"/>
                    </a:lnTo>
                    <a:lnTo>
                      <a:pt x="1050" y="62"/>
                    </a:lnTo>
                    <a:lnTo>
                      <a:pt x="1050" y="62"/>
                    </a:lnTo>
                    <a:close/>
                    <a:moveTo>
                      <a:pt x="371" y="62"/>
                    </a:moveTo>
                    <a:lnTo>
                      <a:pt x="371" y="62"/>
                    </a:lnTo>
                    <a:lnTo>
                      <a:pt x="371" y="62"/>
                    </a:lnTo>
                    <a:lnTo>
                      <a:pt x="371" y="62"/>
                    </a:lnTo>
                    <a:lnTo>
                      <a:pt x="371" y="62"/>
                    </a:lnTo>
                    <a:close/>
                    <a:moveTo>
                      <a:pt x="1050" y="62"/>
                    </a:moveTo>
                    <a:lnTo>
                      <a:pt x="1050" y="62"/>
                    </a:lnTo>
                    <a:lnTo>
                      <a:pt x="1050" y="62"/>
                    </a:lnTo>
                    <a:lnTo>
                      <a:pt x="1050" y="62"/>
                    </a:lnTo>
                    <a:lnTo>
                      <a:pt x="1050" y="62"/>
                    </a:lnTo>
                    <a:close/>
                    <a:moveTo>
                      <a:pt x="371" y="62"/>
                    </a:moveTo>
                    <a:lnTo>
                      <a:pt x="371" y="62"/>
                    </a:lnTo>
                    <a:lnTo>
                      <a:pt x="371" y="62"/>
                    </a:lnTo>
                    <a:lnTo>
                      <a:pt x="371" y="62"/>
                    </a:lnTo>
                    <a:lnTo>
                      <a:pt x="371" y="62"/>
                    </a:lnTo>
                    <a:close/>
                    <a:moveTo>
                      <a:pt x="309" y="62"/>
                    </a:moveTo>
                    <a:lnTo>
                      <a:pt x="309" y="62"/>
                    </a:lnTo>
                    <a:lnTo>
                      <a:pt x="371" y="62"/>
                    </a:lnTo>
                    <a:lnTo>
                      <a:pt x="371" y="62"/>
                    </a:lnTo>
                    <a:lnTo>
                      <a:pt x="309" y="62"/>
                    </a:lnTo>
                    <a:close/>
                    <a:moveTo>
                      <a:pt x="1112" y="62"/>
                    </a:move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close/>
                    <a:moveTo>
                      <a:pt x="1112" y="62"/>
                    </a:move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close/>
                    <a:moveTo>
                      <a:pt x="309" y="62"/>
                    </a:moveTo>
                    <a:lnTo>
                      <a:pt x="309" y="62"/>
                    </a:lnTo>
                    <a:lnTo>
                      <a:pt x="309" y="62"/>
                    </a:lnTo>
                    <a:lnTo>
                      <a:pt x="309" y="62"/>
                    </a:lnTo>
                    <a:lnTo>
                      <a:pt x="309" y="62"/>
                    </a:lnTo>
                    <a:close/>
                    <a:moveTo>
                      <a:pt x="309" y="62"/>
                    </a:moveTo>
                    <a:lnTo>
                      <a:pt x="309" y="62"/>
                    </a:lnTo>
                    <a:lnTo>
                      <a:pt x="309" y="62"/>
                    </a:lnTo>
                    <a:lnTo>
                      <a:pt x="309" y="62"/>
                    </a:lnTo>
                    <a:lnTo>
                      <a:pt x="309" y="62"/>
                    </a:lnTo>
                    <a:close/>
                    <a:moveTo>
                      <a:pt x="247" y="62"/>
                    </a:moveTo>
                    <a:lnTo>
                      <a:pt x="247" y="62"/>
                    </a:lnTo>
                    <a:lnTo>
                      <a:pt x="247" y="62"/>
                    </a:lnTo>
                    <a:lnTo>
                      <a:pt x="247" y="62"/>
                    </a:lnTo>
                    <a:lnTo>
                      <a:pt x="247" y="62"/>
                    </a:lnTo>
                    <a:close/>
                    <a:moveTo>
                      <a:pt x="247" y="62"/>
                    </a:moveTo>
                    <a:lnTo>
                      <a:pt x="247" y="62"/>
                    </a:lnTo>
                    <a:lnTo>
                      <a:pt x="247" y="62"/>
                    </a:lnTo>
                    <a:lnTo>
                      <a:pt x="247" y="62"/>
                    </a:lnTo>
                    <a:lnTo>
                      <a:pt x="247" y="62"/>
                    </a:lnTo>
                    <a:close/>
                    <a:moveTo>
                      <a:pt x="185" y="62"/>
                    </a:moveTo>
                    <a:lnTo>
                      <a:pt x="185" y="62"/>
                    </a:lnTo>
                    <a:lnTo>
                      <a:pt x="247" y="62"/>
                    </a:lnTo>
                    <a:lnTo>
                      <a:pt x="247" y="62"/>
                    </a:lnTo>
                    <a:lnTo>
                      <a:pt x="185" y="62"/>
                    </a:lnTo>
                    <a:close/>
                    <a:moveTo>
                      <a:pt x="185" y="0"/>
                    </a:moveTo>
                    <a:lnTo>
                      <a:pt x="185" y="0"/>
                    </a:lnTo>
                    <a:lnTo>
                      <a:pt x="185" y="0"/>
                    </a:lnTo>
                    <a:lnTo>
                      <a:pt x="185" y="0"/>
                    </a:lnTo>
                    <a:lnTo>
                      <a:pt x="185" y="0"/>
                    </a:lnTo>
                    <a:close/>
                    <a:moveTo>
                      <a:pt x="185" y="0"/>
                    </a:moveTo>
                    <a:lnTo>
                      <a:pt x="185" y="0"/>
                    </a:lnTo>
                    <a:lnTo>
                      <a:pt x="185" y="0"/>
                    </a:lnTo>
                    <a:lnTo>
                      <a:pt x="185" y="0"/>
                    </a:lnTo>
                    <a:lnTo>
                      <a:pt x="185" y="0"/>
                    </a:lnTo>
                    <a:close/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6B3B3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6" name="Google Shape;929;p142">
                <a:extLst>
                  <a:ext uri="{FF2B5EF4-FFF2-40B4-BE49-F238E27FC236}">
                    <a16:creationId xmlns:a16="http://schemas.microsoft.com/office/drawing/2014/main" id="{736725A9-87F6-4367-79A3-191DAC821D0A}"/>
                  </a:ext>
                </a:extLst>
              </p:cNvPr>
              <p:cNvSpPr/>
              <p:nvPr/>
            </p:nvSpPr>
            <p:spPr>
              <a:xfrm>
                <a:off x="11252533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7" name="Google Shape;930;p142">
                <a:extLst>
                  <a:ext uri="{FF2B5EF4-FFF2-40B4-BE49-F238E27FC236}">
                    <a16:creationId xmlns:a16="http://schemas.microsoft.com/office/drawing/2014/main" id="{D4FB1F55-AEE1-7731-9882-D09A1A8C3D1C}"/>
                  </a:ext>
                </a:extLst>
              </p:cNvPr>
              <p:cNvSpPr/>
              <p:nvPr/>
            </p:nvSpPr>
            <p:spPr>
              <a:xfrm>
                <a:off x="11251809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8" name="Google Shape;931;p142">
                <a:extLst>
                  <a:ext uri="{FF2B5EF4-FFF2-40B4-BE49-F238E27FC236}">
                    <a16:creationId xmlns:a16="http://schemas.microsoft.com/office/drawing/2014/main" id="{7E414289-FC8B-22DA-7E23-FC9CE87E5E81}"/>
                  </a:ext>
                </a:extLst>
              </p:cNvPr>
              <p:cNvSpPr/>
              <p:nvPr/>
            </p:nvSpPr>
            <p:spPr>
              <a:xfrm>
                <a:off x="11252533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9" name="Google Shape;932;p142">
                <a:extLst>
                  <a:ext uri="{FF2B5EF4-FFF2-40B4-BE49-F238E27FC236}">
                    <a16:creationId xmlns:a16="http://schemas.microsoft.com/office/drawing/2014/main" id="{05DAB62E-0FA1-AC41-F31C-EBC04F45AC08}"/>
                  </a:ext>
                </a:extLst>
              </p:cNvPr>
              <p:cNvSpPr/>
              <p:nvPr/>
            </p:nvSpPr>
            <p:spPr>
              <a:xfrm>
                <a:off x="11251809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0" name="Google Shape;933;p142">
                <a:extLst>
                  <a:ext uri="{FF2B5EF4-FFF2-40B4-BE49-F238E27FC236}">
                    <a16:creationId xmlns:a16="http://schemas.microsoft.com/office/drawing/2014/main" id="{F60132BB-FA6F-6BFF-0C21-7CD4D9941D32}"/>
                  </a:ext>
                </a:extLst>
              </p:cNvPr>
              <p:cNvSpPr/>
              <p:nvPr/>
            </p:nvSpPr>
            <p:spPr>
              <a:xfrm>
                <a:off x="11251086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1" name="Google Shape;934;p142">
                <a:extLst>
                  <a:ext uri="{FF2B5EF4-FFF2-40B4-BE49-F238E27FC236}">
                    <a16:creationId xmlns:a16="http://schemas.microsoft.com/office/drawing/2014/main" id="{B6D40C5B-D790-AC36-4EE2-8BDB06DAFE65}"/>
                  </a:ext>
                </a:extLst>
              </p:cNvPr>
              <p:cNvSpPr/>
              <p:nvPr/>
            </p:nvSpPr>
            <p:spPr>
              <a:xfrm>
                <a:off x="11251086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2" name="Google Shape;935;p142">
                <a:extLst>
                  <a:ext uri="{FF2B5EF4-FFF2-40B4-BE49-F238E27FC236}">
                    <a16:creationId xmlns:a16="http://schemas.microsoft.com/office/drawing/2014/main" id="{7C904AFF-188A-E740-1364-445B405C4665}"/>
                  </a:ext>
                </a:extLst>
              </p:cNvPr>
              <p:cNvSpPr/>
              <p:nvPr/>
            </p:nvSpPr>
            <p:spPr>
              <a:xfrm>
                <a:off x="11252533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3" name="Google Shape;936;p142">
                <a:extLst>
                  <a:ext uri="{FF2B5EF4-FFF2-40B4-BE49-F238E27FC236}">
                    <a16:creationId xmlns:a16="http://schemas.microsoft.com/office/drawing/2014/main" id="{F0D22162-3116-047B-309B-C32187892912}"/>
                  </a:ext>
                </a:extLst>
              </p:cNvPr>
              <p:cNvSpPr/>
              <p:nvPr/>
            </p:nvSpPr>
            <p:spPr>
              <a:xfrm>
                <a:off x="11251086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4" name="Google Shape;937;p142">
                <a:extLst>
                  <a:ext uri="{FF2B5EF4-FFF2-40B4-BE49-F238E27FC236}">
                    <a16:creationId xmlns:a16="http://schemas.microsoft.com/office/drawing/2014/main" id="{85A563C2-031D-BDDA-123D-07660432CE7A}"/>
                  </a:ext>
                </a:extLst>
              </p:cNvPr>
              <p:cNvSpPr/>
              <p:nvPr/>
            </p:nvSpPr>
            <p:spPr>
              <a:xfrm>
                <a:off x="11253256" y="2705733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5" name="Google Shape;938;p142">
                <a:extLst>
                  <a:ext uri="{FF2B5EF4-FFF2-40B4-BE49-F238E27FC236}">
                    <a16:creationId xmlns:a16="http://schemas.microsoft.com/office/drawing/2014/main" id="{7CA91277-377C-CB3A-DA59-712BD545DEE8}"/>
                  </a:ext>
                </a:extLst>
              </p:cNvPr>
              <p:cNvSpPr/>
              <p:nvPr/>
            </p:nvSpPr>
            <p:spPr>
              <a:xfrm>
                <a:off x="11250374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6" name="Google Shape;939;p142">
                <a:extLst>
                  <a:ext uri="{FF2B5EF4-FFF2-40B4-BE49-F238E27FC236}">
                    <a16:creationId xmlns:a16="http://schemas.microsoft.com/office/drawing/2014/main" id="{05E6C29E-7E3C-3E1C-AE2E-98FBAA619D35}"/>
                  </a:ext>
                </a:extLst>
              </p:cNvPr>
              <p:cNvSpPr/>
              <p:nvPr/>
            </p:nvSpPr>
            <p:spPr>
              <a:xfrm>
                <a:off x="1125396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7" name="Google Shape;940;p142">
                <a:extLst>
                  <a:ext uri="{FF2B5EF4-FFF2-40B4-BE49-F238E27FC236}">
                    <a16:creationId xmlns:a16="http://schemas.microsoft.com/office/drawing/2014/main" id="{AD1164CE-C352-99C3-6D70-BABA9EAF3D8E}"/>
                  </a:ext>
                </a:extLst>
              </p:cNvPr>
              <p:cNvSpPr/>
              <p:nvPr/>
            </p:nvSpPr>
            <p:spPr>
              <a:xfrm>
                <a:off x="1125396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8" name="Google Shape;941;p142">
                <a:extLst>
                  <a:ext uri="{FF2B5EF4-FFF2-40B4-BE49-F238E27FC236}">
                    <a16:creationId xmlns:a16="http://schemas.microsoft.com/office/drawing/2014/main" id="{6354CC07-1EC1-07EA-BC74-8F70885E0543}"/>
                  </a:ext>
                </a:extLst>
              </p:cNvPr>
              <p:cNvSpPr/>
              <p:nvPr/>
            </p:nvSpPr>
            <p:spPr>
              <a:xfrm>
                <a:off x="11250374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59" name="Google Shape;942;p142">
                <a:extLst>
                  <a:ext uri="{FF2B5EF4-FFF2-40B4-BE49-F238E27FC236}">
                    <a16:creationId xmlns:a16="http://schemas.microsoft.com/office/drawing/2014/main" id="{046EB37A-0111-514B-8DB3-C2141A35E131}"/>
                  </a:ext>
                </a:extLst>
              </p:cNvPr>
              <p:cNvSpPr/>
              <p:nvPr/>
            </p:nvSpPr>
            <p:spPr>
              <a:xfrm>
                <a:off x="11254692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0" name="Google Shape;943;p142">
                <a:extLst>
                  <a:ext uri="{FF2B5EF4-FFF2-40B4-BE49-F238E27FC236}">
                    <a16:creationId xmlns:a16="http://schemas.microsoft.com/office/drawing/2014/main" id="{BB5FD5FE-F4FE-693D-CC12-211EDF6435CD}"/>
                  </a:ext>
                </a:extLst>
              </p:cNvPr>
              <p:cNvSpPr/>
              <p:nvPr/>
            </p:nvSpPr>
            <p:spPr>
              <a:xfrm>
                <a:off x="11249650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1" name="Google Shape;944;p142">
                <a:extLst>
                  <a:ext uri="{FF2B5EF4-FFF2-40B4-BE49-F238E27FC236}">
                    <a16:creationId xmlns:a16="http://schemas.microsoft.com/office/drawing/2014/main" id="{E6B09A3D-5D60-B8F4-4B5D-05FA30ADA2B0}"/>
                  </a:ext>
                </a:extLst>
              </p:cNvPr>
              <p:cNvSpPr/>
              <p:nvPr/>
            </p:nvSpPr>
            <p:spPr>
              <a:xfrm>
                <a:off x="112496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2" name="Google Shape;945;p142">
                <a:extLst>
                  <a:ext uri="{FF2B5EF4-FFF2-40B4-BE49-F238E27FC236}">
                    <a16:creationId xmlns:a16="http://schemas.microsoft.com/office/drawing/2014/main" id="{11F3E4F0-60EF-86A1-D6FA-785D77551C66}"/>
                  </a:ext>
                </a:extLst>
              </p:cNvPr>
              <p:cNvSpPr/>
              <p:nvPr/>
            </p:nvSpPr>
            <p:spPr>
              <a:xfrm>
                <a:off x="11254692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3" name="Google Shape;946;p142">
                <a:extLst>
                  <a:ext uri="{FF2B5EF4-FFF2-40B4-BE49-F238E27FC236}">
                    <a16:creationId xmlns:a16="http://schemas.microsoft.com/office/drawing/2014/main" id="{DD9AE61E-48A7-2D02-A822-62BAE67E50F3}"/>
                  </a:ext>
                </a:extLst>
              </p:cNvPr>
              <p:cNvSpPr/>
              <p:nvPr/>
            </p:nvSpPr>
            <p:spPr>
              <a:xfrm>
                <a:off x="112496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4" name="Google Shape;947;p142">
                <a:extLst>
                  <a:ext uri="{FF2B5EF4-FFF2-40B4-BE49-F238E27FC236}">
                    <a16:creationId xmlns:a16="http://schemas.microsoft.com/office/drawing/2014/main" id="{127ACDE6-7D20-0173-AC01-EFC5E9C880CF}"/>
                  </a:ext>
                </a:extLst>
              </p:cNvPr>
              <p:cNvSpPr/>
              <p:nvPr/>
            </p:nvSpPr>
            <p:spPr>
              <a:xfrm>
                <a:off x="11254692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5" name="Google Shape;948;p142">
                <a:extLst>
                  <a:ext uri="{FF2B5EF4-FFF2-40B4-BE49-F238E27FC236}">
                    <a16:creationId xmlns:a16="http://schemas.microsoft.com/office/drawing/2014/main" id="{02EE75FB-746C-953C-DF3A-656BC0EFBB21}"/>
                  </a:ext>
                </a:extLst>
              </p:cNvPr>
              <p:cNvSpPr/>
              <p:nvPr/>
            </p:nvSpPr>
            <p:spPr>
              <a:xfrm>
                <a:off x="11248927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6" name="Google Shape;949;p142">
                <a:extLst>
                  <a:ext uri="{FF2B5EF4-FFF2-40B4-BE49-F238E27FC236}">
                    <a16:creationId xmlns:a16="http://schemas.microsoft.com/office/drawing/2014/main" id="{57A7A9C2-B973-2887-9C50-C87EB0CB6A1A}"/>
                  </a:ext>
                </a:extLst>
              </p:cNvPr>
              <p:cNvSpPr/>
              <p:nvPr/>
            </p:nvSpPr>
            <p:spPr>
              <a:xfrm>
                <a:off x="11255415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7" name="Google Shape;950;p142">
                <a:extLst>
                  <a:ext uri="{FF2B5EF4-FFF2-40B4-BE49-F238E27FC236}">
                    <a16:creationId xmlns:a16="http://schemas.microsoft.com/office/drawing/2014/main" id="{C5C4D1D0-A193-20C5-BD6A-5BFD6E6C2A1C}"/>
                  </a:ext>
                </a:extLst>
              </p:cNvPr>
              <p:cNvSpPr/>
              <p:nvPr/>
            </p:nvSpPr>
            <p:spPr>
              <a:xfrm>
                <a:off x="11248927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8" name="Google Shape;951;p142">
                <a:extLst>
                  <a:ext uri="{FF2B5EF4-FFF2-40B4-BE49-F238E27FC236}">
                    <a16:creationId xmlns:a16="http://schemas.microsoft.com/office/drawing/2014/main" id="{5479FD9D-CA5B-2C65-07BB-08A0D63B983A}"/>
                  </a:ext>
                </a:extLst>
              </p:cNvPr>
              <p:cNvSpPr/>
              <p:nvPr/>
            </p:nvSpPr>
            <p:spPr>
              <a:xfrm>
                <a:off x="11255415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69" name="Google Shape;952;p142">
                <a:extLst>
                  <a:ext uri="{FF2B5EF4-FFF2-40B4-BE49-F238E27FC236}">
                    <a16:creationId xmlns:a16="http://schemas.microsoft.com/office/drawing/2014/main" id="{F0049839-B4B5-6AC0-5EB6-5832A20A3C8D}"/>
                  </a:ext>
                </a:extLst>
              </p:cNvPr>
              <p:cNvSpPr/>
              <p:nvPr/>
            </p:nvSpPr>
            <p:spPr>
              <a:xfrm>
                <a:off x="11256139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0" name="Google Shape;953;p142">
                <a:extLst>
                  <a:ext uri="{FF2B5EF4-FFF2-40B4-BE49-F238E27FC236}">
                    <a16:creationId xmlns:a16="http://schemas.microsoft.com/office/drawing/2014/main" id="{6E7FAEE7-6C02-D0AA-D7CB-77449F958F55}"/>
                  </a:ext>
                </a:extLst>
              </p:cNvPr>
              <p:cNvSpPr/>
              <p:nvPr/>
            </p:nvSpPr>
            <p:spPr>
              <a:xfrm>
                <a:off x="11248203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1" name="Google Shape;954;p142">
                <a:extLst>
                  <a:ext uri="{FF2B5EF4-FFF2-40B4-BE49-F238E27FC236}">
                    <a16:creationId xmlns:a16="http://schemas.microsoft.com/office/drawing/2014/main" id="{D78846CF-5685-B252-A53B-4FD701154647}"/>
                  </a:ext>
                </a:extLst>
              </p:cNvPr>
              <p:cNvSpPr/>
              <p:nvPr/>
            </p:nvSpPr>
            <p:spPr>
              <a:xfrm>
                <a:off x="11256139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2" name="Google Shape;955;p142">
                <a:extLst>
                  <a:ext uri="{FF2B5EF4-FFF2-40B4-BE49-F238E27FC236}">
                    <a16:creationId xmlns:a16="http://schemas.microsoft.com/office/drawing/2014/main" id="{42318776-3680-5148-5CE0-2C616175D0BA}"/>
                  </a:ext>
                </a:extLst>
              </p:cNvPr>
              <p:cNvSpPr/>
              <p:nvPr/>
            </p:nvSpPr>
            <p:spPr>
              <a:xfrm>
                <a:off x="11248203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3" name="Google Shape;956;p142">
                <a:extLst>
                  <a:ext uri="{FF2B5EF4-FFF2-40B4-BE49-F238E27FC236}">
                    <a16:creationId xmlns:a16="http://schemas.microsoft.com/office/drawing/2014/main" id="{C008C353-2FCB-2765-EBAE-2DBA7107722D}"/>
                  </a:ext>
                </a:extLst>
              </p:cNvPr>
              <p:cNvSpPr/>
              <p:nvPr/>
            </p:nvSpPr>
            <p:spPr>
              <a:xfrm>
                <a:off x="11247480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4" name="Google Shape;957;p142">
                <a:extLst>
                  <a:ext uri="{FF2B5EF4-FFF2-40B4-BE49-F238E27FC236}">
                    <a16:creationId xmlns:a16="http://schemas.microsoft.com/office/drawing/2014/main" id="{4194E937-CCE4-179E-24DF-CE9EEC2A104B}"/>
                  </a:ext>
                </a:extLst>
              </p:cNvPr>
              <p:cNvSpPr/>
              <p:nvPr/>
            </p:nvSpPr>
            <p:spPr>
              <a:xfrm>
                <a:off x="112568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5" name="Google Shape;958;p142">
                <a:extLst>
                  <a:ext uri="{FF2B5EF4-FFF2-40B4-BE49-F238E27FC236}">
                    <a16:creationId xmlns:a16="http://schemas.microsoft.com/office/drawing/2014/main" id="{A71BE110-D2FC-37A5-6151-1A9770351B15}"/>
                  </a:ext>
                </a:extLst>
              </p:cNvPr>
              <p:cNvSpPr/>
              <p:nvPr/>
            </p:nvSpPr>
            <p:spPr>
              <a:xfrm>
                <a:off x="112568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6" name="Google Shape;959;p142">
                <a:extLst>
                  <a:ext uri="{FF2B5EF4-FFF2-40B4-BE49-F238E27FC236}">
                    <a16:creationId xmlns:a16="http://schemas.microsoft.com/office/drawing/2014/main" id="{A74B1CFC-3B6A-B2A1-D38A-1A8BF5ECF675}"/>
                  </a:ext>
                </a:extLst>
              </p:cNvPr>
              <p:cNvSpPr/>
              <p:nvPr/>
            </p:nvSpPr>
            <p:spPr>
              <a:xfrm>
                <a:off x="1124748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7" name="Google Shape;960;p142">
                <a:extLst>
                  <a:ext uri="{FF2B5EF4-FFF2-40B4-BE49-F238E27FC236}">
                    <a16:creationId xmlns:a16="http://schemas.microsoft.com/office/drawing/2014/main" id="{C5DE8FC3-B7D4-85B7-D7EB-C21E65CF5F07}"/>
                  </a:ext>
                </a:extLst>
              </p:cNvPr>
              <p:cNvSpPr/>
              <p:nvPr/>
            </p:nvSpPr>
            <p:spPr>
              <a:xfrm>
                <a:off x="1124748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8" name="Google Shape;961;p142">
                <a:extLst>
                  <a:ext uri="{FF2B5EF4-FFF2-40B4-BE49-F238E27FC236}">
                    <a16:creationId xmlns:a16="http://schemas.microsoft.com/office/drawing/2014/main" id="{D9289BCF-3B48-C911-E713-1D261945E95D}"/>
                  </a:ext>
                </a:extLst>
              </p:cNvPr>
              <p:cNvSpPr/>
              <p:nvPr/>
            </p:nvSpPr>
            <p:spPr>
              <a:xfrm>
                <a:off x="1124676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9" name="Google Shape;962;p142">
                <a:extLst>
                  <a:ext uri="{FF2B5EF4-FFF2-40B4-BE49-F238E27FC236}">
                    <a16:creationId xmlns:a16="http://schemas.microsoft.com/office/drawing/2014/main" id="{4AB0BDD6-D233-BECC-DE9D-48CA07F55E9F}"/>
                  </a:ext>
                </a:extLst>
              </p:cNvPr>
              <p:cNvSpPr/>
              <p:nvPr/>
            </p:nvSpPr>
            <p:spPr>
              <a:xfrm>
                <a:off x="1124676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0" name="Google Shape;963;p142">
                <a:extLst>
                  <a:ext uri="{FF2B5EF4-FFF2-40B4-BE49-F238E27FC236}">
                    <a16:creationId xmlns:a16="http://schemas.microsoft.com/office/drawing/2014/main" id="{A8B682A3-C446-3CCB-9BA0-82A3184EC7E6}"/>
                  </a:ext>
                </a:extLst>
              </p:cNvPr>
              <p:cNvSpPr/>
              <p:nvPr/>
            </p:nvSpPr>
            <p:spPr>
              <a:xfrm>
                <a:off x="11246045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1" name="Google Shape;964;p142">
                <a:extLst>
                  <a:ext uri="{FF2B5EF4-FFF2-40B4-BE49-F238E27FC236}">
                    <a16:creationId xmlns:a16="http://schemas.microsoft.com/office/drawing/2014/main" id="{EA3830C0-8FEF-B608-79D1-0B7724E61CF2}"/>
                  </a:ext>
                </a:extLst>
              </p:cNvPr>
              <p:cNvSpPr/>
              <p:nvPr/>
            </p:nvSpPr>
            <p:spPr>
              <a:xfrm>
                <a:off x="11246045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2" name="Google Shape;965;p142">
                <a:extLst>
                  <a:ext uri="{FF2B5EF4-FFF2-40B4-BE49-F238E27FC236}">
                    <a16:creationId xmlns:a16="http://schemas.microsoft.com/office/drawing/2014/main" id="{78476E1D-D760-302E-F278-77840DF9D99D}"/>
                  </a:ext>
                </a:extLst>
              </p:cNvPr>
              <p:cNvSpPr/>
              <p:nvPr/>
            </p:nvSpPr>
            <p:spPr>
              <a:xfrm>
                <a:off x="11246045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3" name="Google Shape;966;p142">
                <a:extLst>
                  <a:ext uri="{FF2B5EF4-FFF2-40B4-BE49-F238E27FC236}">
                    <a16:creationId xmlns:a16="http://schemas.microsoft.com/office/drawing/2014/main" id="{3A6AC036-6E8B-EBF6-1914-579585714C3F}"/>
                  </a:ext>
                </a:extLst>
              </p:cNvPr>
              <p:cNvSpPr/>
              <p:nvPr/>
            </p:nvSpPr>
            <p:spPr>
              <a:xfrm>
                <a:off x="11244598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4" name="Google Shape;967;p142">
                <a:extLst>
                  <a:ext uri="{FF2B5EF4-FFF2-40B4-BE49-F238E27FC236}">
                    <a16:creationId xmlns:a16="http://schemas.microsoft.com/office/drawing/2014/main" id="{EA31FA0F-4AD7-D48E-9768-8F217C18D529}"/>
                  </a:ext>
                </a:extLst>
              </p:cNvPr>
              <p:cNvSpPr/>
              <p:nvPr/>
            </p:nvSpPr>
            <p:spPr>
              <a:xfrm>
                <a:off x="11244598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5" name="Google Shape;968;p142">
                <a:extLst>
                  <a:ext uri="{FF2B5EF4-FFF2-40B4-BE49-F238E27FC236}">
                    <a16:creationId xmlns:a16="http://schemas.microsoft.com/office/drawing/2014/main" id="{4A331EE8-540A-A9DF-368A-421A39D59266}"/>
                  </a:ext>
                </a:extLst>
              </p:cNvPr>
              <p:cNvSpPr/>
              <p:nvPr/>
            </p:nvSpPr>
            <p:spPr>
              <a:xfrm>
                <a:off x="11244598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6" name="Google Shape;969;p142">
                <a:extLst>
                  <a:ext uri="{FF2B5EF4-FFF2-40B4-BE49-F238E27FC236}">
                    <a16:creationId xmlns:a16="http://schemas.microsoft.com/office/drawing/2014/main" id="{983F3D69-7677-A67E-040F-B73271A59129}"/>
                  </a:ext>
                </a:extLst>
              </p:cNvPr>
              <p:cNvSpPr/>
              <p:nvPr/>
            </p:nvSpPr>
            <p:spPr>
              <a:xfrm>
                <a:off x="11243886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7" name="Google Shape;970;p142">
                <a:extLst>
                  <a:ext uri="{FF2B5EF4-FFF2-40B4-BE49-F238E27FC236}">
                    <a16:creationId xmlns:a16="http://schemas.microsoft.com/office/drawing/2014/main" id="{8B175B0D-BAB6-B7EF-ACB3-4D689DB374D9}"/>
                  </a:ext>
                </a:extLst>
              </p:cNvPr>
              <p:cNvSpPr/>
              <p:nvPr/>
            </p:nvSpPr>
            <p:spPr>
              <a:xfrm>
                <a:off x="11256850" y="2705009"/>
                <a:ext cx="2183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87" h="63" extrusionOk="0">
                    <a:moveTo>
                      <a:pt x="1" y="62"/>
                    </a:moveTo>
                    <a:lnTo>
                      <a:pt x="1" y="62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1" y="62"/>
                    </a:lnTo>
                    <a:close/>
                    <a:moveTo>
                      <a:pt x="63" y="62"/>
                    </a:moveTo>
                    <a:lnTo>
                      <a:pt x="63" y="62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63" y="62"/>
                    </a:lnTo>
                    <a:close/>
                    <a:moveTo>
                      <a:pt x="63" y="62"/>
                    </a:moveTo>
                    <a:lnTo>
                      <a:pt x="63" y="62"/>
                    </a:lnTo>
                    <a:lnTo>
                      <a:pt x="63" y="62"/>
                    </a:lnTo>
                    <a:lnTo>
                      <a:pt x="63" y="62"/>
                    </a:lnTo>
                    <a:lnTo>
                      <a:pt x="63" y="62"/>
                    </a:lnTo>
                    <a:close/>
                    <a:moveTo>
                      <a:pt x="63" y="62"/>
                    </a:moveTo>
                    <a:lnTo>
                      <a:pt x="63" y="62"/>
                    </a:lnTo>
                    <a:lnTo>
                      <a:pt x="63" y="62"/>
                    </a:lnTo>
                    <a:lnTo>
                      <a:pt x="63" y="62"/>
                    </a:lnTo>
                    <a:lnTo>
                      <a:pt x="63" y="62"/>
                    </a:lnTo>
                    <a:close/>
                    <a:moveTo>
                      <a:pt x="125" y="62"/>
                    </a:moveTo>
                    <a:lnTo>
                      <a:pt x="125" y="62"/>
                    </a:lnTo>
                    <a:lnTo>
                      <a:pt x="125" y="62"/>
                    </a:lnTo>
                    <a:lnTo>
                      <a:pt x="125" y="62"/>
                    </a:lnTo>
                    <a:lnTo>
                      <a:pt x="125" y="62"/>
                    </a:lnTo>
                    <a:close/>
                    <a:moveTo>
                      <a:pt x="186" y="0"/>
                    </a:move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close/>
                    <a:moveTo>
                      <a:pt x="186" y="0"/>
                    </a:move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8" name="Google Shape;971;p142">
                <a:extLst>
                  <a:ext uri="{FF2B5EF4-FFF2-40B4-BE49-F238E27FC236}">
                    <a16:creationId xmlns:a16="http://schemas.microsoft.com/office/drawing/2014/main" id="{E47E2A2F-C8E8-E402-7F1F-17EDC2DB950B}"/>
                  </a:ext>
                </a:extLst>
              </p:cNvPr>
              <p:cNvSpPr/>
              <p:nvPr/>
            </p:nvSpPr>
            <p:spPr>
              <a:xfrm>
                <a:off x="112568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9" name="Google Shape;972;p142">
                <a:extLst>
                  <a:ext uri="{FF2B5EF4-FFF2-40B4-BE49-F238E27FC236}">
                    <a16:creationId xmlns:a16="http://schemas.microsoft.com/office/drawing/2014/main" id="{10BC2AB7-8F98-04A3-4D0F-62C927798091}"/>
                  </a:ext>
                </a:extLst>
              </p:cNvPr>
              <p:cNvSpPr/>
              <p:nvPr/>
            </p:nvSpPr>
            <p:spPr>
              <a:xfrm>
                <a:off x="11256850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0"/>
                    </a:moveTo>
                    <a:lnTo>
                      <a:pt x="6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0" name="Google Shape;973;p142">
                <a:extLst>
                  <a:ext uri="{FF2B5EF4-FFF2-40B4-BE49-F238E27FC236}">
                    <a16:creationId xmlns:a16="http://schemas.microsoft.com/office/drawing/2014/main" id="{0A4440B4-836A-4E3E-7A75-9A9E88AE5246}"/>
                  </a:ext>
                </a:extLst>
              </p:cNvPr>
              <p:cNvSpPr/>
              <p:nvPr/>
            </p:nvSpPr>
            <p:spPr>
              <a:xfrm>
                <a:off x="11257574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1" name="Google Shape;974;p142">
                <a:extLst>
                  <a:ext uri="{FF2B5EF4-FFF2-40B4-BE49-F238E27FC236}">
                    <a16:creationId xmlns:a16="http://schemas.microsoft.com/office/drawing/2014/main" id="{3345841C-1CD9-BEF4-C853-6985C6F07639}"/>
                  </a:ext>
                </a:extLst>
              </p:cNvPr>
              <p:cNvSpPr/>
              <p:nvPr/>
            </p:nvSpPr>
            <p:spPr>
              <a:xfrm>
                <a:off x="11257574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2" name="Google Shape;975;p142">
                <a:extLst>
                  <a:ext uri="{FF2B5EF4-FFF2-40B4-BE49-F238E27FC236}">
                    <a16:creationId xmlns:a16="http://schemas.microsoft.com/office/drawing/2014/main" id="{AACFF21C-F9FD-7C01-6BED-EC49CBBDF9D9}"/>
                  </a:ext>
                </a:extLst>
              </p:cNvPr>
              <p:cNvSpPr/>
              <p:nvPr/>
            </p:nvSpPr>
            <p:spPr>
              <a:xfrm>
                <a:off x="1125829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3" name="Google Shape;976;p142">
                <a:extLst>
                  <a:ext uri="{FF2B5EF4-FFF2-40B4-BE49-F238E27FC236}">
                    <a16:creationId xmlns:a16="http://schemas.microsoft.com/office/drawing/2014/main" id="{D1A9F589-D4E8-BF91-CCBF-279B22EFE479}"/>
                  </a:ext>
                </a:extLst>
              </p:cNvPr>
              <p:cNvSpPr/>
              <p:nvPr/>
            </p:nvSpPr>
            <p:spPr>
              <a:xfrm>
                <a:off x="11259021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4" name="Google Shape;977;p142">
                <a:extLst>
                  <a:ext uri="{FF2B5EF4-FFF2-40B4-BE49-F238E27FC236}">
                    <a16:creationId xmlns:a16="http://schemas.microsoft.com/office/drawing/2014/main" id="{E17B02B7-49B9-2A57-112B-FC19DB381515}"/>
                  </a:ext>
                </a:extLst>
              </p:cNvPr>
              <p:cNvSpPr/>
              <p:nvPr/>
            </p:nvSpPr>
            <p:spPr>
              <a:xfrm>
                <a:off x="11259021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5" name="Google Shape;978;p142">
                <a:extLst>
                  <a:ext uri="{FF2B5EF4-FFF2-40B4-BE49-F238E27FC236}">
                    <a16:creationId xmlns:a16="http://schemas.microsoft.com/office/drawing/2014/main" id="{527A0CB7-B6A6-3BD5-1841-E19D3CCFF72D}"/>
                  </a:ext>
                </a:extLst>
              </p:cNvPr>
              <p:cNvSpPr/>
              <p:nvPr/>
            </p:nvSpPr>
            <p:spPr>
              <a:xfrm>
                <a:off x="11098997" y="2604817"/>
                <a:ext cx="183142" cy="100977"/>
              </a:xfrm>
              <a:custGeom>
                <a:avLst/>
                <a:gdLst/>
                <a:ahLst/>
                <a:cxnLst/>
                <a:rect l="l" t="t" r="r" b="b"/>
                <a:pathLst>
                  <a:path w="15690" h="8649" extrusionOk="0">
                    <a:moveTo>
                      <a:pt x="3459" y="0"/>
                    </a:moveTo>
                    <a:lnTo>
                      <a:pt x="2656" y="556"/>
                    </a:lnTo>
                    <a:lnTo>
                      <a:pt x="1792" y="989"/>
                    </a:lnTo>
                    <a:lnTo>
                      <a:pt x="927" y="1421"/>
                    </a:lnTo>
                    <a:lnTo>
                      <a:pt x="0" y="1853"/>
                    </a:lnTo>
                    <a:lnTo>
                      <a:pt x="556" y="2533"/>
                    </a:lnTo>
                    <a:lnTo>
                      <a:pt x="1112" y="3212"/>
                    </a:lnTo>
                    <a:lnTo>
                      <a:pt x="1730" y="3892"/>
                    </a:lnTo>
                    <a:lnTo>
                      <a:pt x="2409" y="4510"/>
                    </a:lnTo>
                    <a:lnTo>
                      <a:pt x="3089" y="5127"/>
                    </a:lnTo>
                    <a:lnTo>
                      <a:pt x="3830" y="5621"/>
                    </a:lnTo>
                    <a:lnTo>
                      <a:pt x="4571" y="6177"/>
                    </a:lnTo>
                    <a:lnTo>
                      <a:pt x="5312" y="6610"/>
                    </a:lnTo>
                    <a:lnTo>
                      <a:pt x="6116" y="7042"/>
                    </a:lnTo>
                    <a:lnTo>
                      <a:pt x="6980" y="7413"/>
                    </a:lnTo>
                    <a:lnTo>
                      <a:pt x="7845" y="7722"/>
                    </a:lnTo>
                    <a:lnTo>
                      <a:pt x="8710" y="8030"/>
                    </a:lnTo>
                    <a:lnTo>
                      <a:pt x="9636" y="8216"/>
                    </a:lnTo>
                    <a:lnTo>
                      <a:pt x="10563" y="8401"/>
                    </a:lnTo>
                    <a:lnTo>
                      <a:pt x="11490" y="8525"/>
                    </a:lnTo>
                    <a:lnTo>
                      <a:pt x="12416" y="8586"/>
                    </a:lnTo>
                    <a:lnTo>
                      <a:pt x="12601" y="8586"/>
                    </a:lnTo>
                    <a:lnTo>
                      <a:pt x="12601" y="8648"/>
                    </a:lnTo>
                    <a:lnTo>
                      <a:pt x="13652" y="8648"/>
                    </a:lnTo>
                    <a:lnTo>
                      <a:pt x="13713" y="8586"/>
                    </a:lnTo>
                    <a:lnTo>
                      <a:pt x="14702" y="8525"/>
                    </a:lnTo>
                    <a:lnTo>
                      <a:pt x="15690" y="8401"/>
                    </a:lnTo>
                    <a:lnTo>
                      <a:pt x="15072" y="7722"/>
                    </a:lnTo>
                    <a:lnTo>
                      <a:pt x="14578" y="6980"/>
                    </a:lnTo>
                    <a:lnTo>
                      <a:pt x="14084" y="6177"/>
                    </a:lnTo>
                    <a:lnTo>
                      <a:pt x="13713" y="5374"/>
                    </a:lnTo>
                    <a:lnTo>
                      <a:pt x="13404" y="4510"/>
                    </a:lnTo>
                    <a:lnTo>
                      <a:pt x="13096" y="3583"/>
                    </a:lnTo>
                    <a:lnTo>
                      <a:pt x="12910" y="2656"/>
                    </a:lnTo>
                    <a:lnTo>
                      <a:pt x="12787" y="1730"/>
                    </a:lnTo>
                    <a:lnTo>
                      <a:pt x="11366" y="1668"/>
                    </a:lnTo>
                    <a:lnTo>
                      <a:pt x="9945" y="1483"/>
                    </a:lnTo>
                    <a:lnTo>
                      <a:pt x="8525" y="1298"/>
                    </a:lnTo>
                    <a:lnTo>
                      <a:pt x="7166" y="1050"/>
                    </a:lnTo>
                    <a:lnTo>
                      <a:pt x="6239" y="865"/>
                    </a:lnTo>
                    <a:lnTo>
                      <a:pt x="5312" y="618"/>
                    </a:lnTo>
                    <a:lnTo>
                      <a:pt x="4386" y="309"/>
                    </a:lnTo>
                    <a:lnTo>
                      <a:pt x="3459" y="0"/>
                    </a:lnTo>
                    <a:close/>
                  </a:path>
                </a:pathLst>
              </a:custGeom>
              <a:solidFill>
                <a:srgbClr val="52938F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6" name="Google Shape;979;p142">
                <a:extLst>
                  <a:ext uri="{FF2B5EF4-FFF2-40B4-BE49-F238E27FC236}">
                    <a16:creationId xmlns:a16="http://schemas.microsoft.com/office/drawing/2014/main" id="{9779C5DB-F2D6-6CE0-8F1F-24FB166E2719}"/>
                  </a:ext>
                </a:extLst>
              </p:cNvPr>
              <p:cNvSpPr/>
              <p:nvPr/>
            </p:nvSpPr>
            <p:spPr>
              <a:xfrm>
                <a:off x="11098997" y="2604817"/>
                <a:ext cx="183142" cy="100977"/>
              </a:xfrm>
              <a:custGeom>
                <a:avLst/>
                <a:gdLst/>
                <a:ahLst/>
                <a:cxnLst/>
                <a:rect l="l" t="t" r="r" b="b"/>
                <a:pathLst>
                  <a:path w="15690" h="8649" fill="none" extrusionOk="0">
                    <a:moveTo>
                      <a:pt x="3459" y="0"/>
                    </a:moveTo>
                    <a:lnTo>
                      <a:pt x="3459" y="0"/>
                    </a:lnTo>
                    <a:lnTo>
                      <a:pt x="2656" y="556"/>
                    </a:lnTo>
                    <a:lnTo>
                      <a:pt x="1792" y="989"/>
                    </a:lnTo>
                    <a:lnTo>
                      <a:pt x="927" y="1421"/>
                    </a:lnTo>
                    <a:lnTo>
                      <a:pt x="0" y="1853"/>
                    </a:lnTo>
                    <a:lnTo>
                      <a:pt x="0" y="1853"/>
                    </a:lnTo>
                    <a:lnTo>
                      <a:pt x="556" y="2533"/>
                    </a:lnTo>
                    <a:lnTo>
                      <a:pt x="1112" y="3212"/>
                    </a:lnTo>
                    <a:lnTo>
                      <a:pt x="1730" y="3892"/>
                    </a:lnTo>
                    <a:lnTo>
                      <a:pt x="2409" y="4510"/>
                    </a:lnTo>
                    <a:lnTo>
                      <a:pt x="3089" y="5127"/>
                    </a:lnTo>
                    <a:lnTo>
                      <a:pt x="3830" y="5621"/>
                    </a:lnTo>
                    <a:lnTo>
                      <a:pt x="4571" y="6177"/>
                    </a:lnTo>
                    <a:lnTo>
                      <a:pt x="5312" y="6610"/>
                    </a:lnTo>
                    <a:lnTo>
                      <a:pt x="6116" y="7042"/>
                    </a:lnTo>
                    <a:lnTo>
                      <a:pt x="6980" y="7413"/>
                    </a:lnTo>
                    <a:lnTo>
                      <a:pt x="7845" y="7722"/>
                    </a:lnTo>
                    <a:lnTo>
                      <a:pt x="8710" y="8030"/>
                    </a:lnTo>
                    <a:lnTo>
                      <a:pt x="9636" y="8216"/>
                    </a:lnTo>
                    <a:lnTo>
                      <a:pt x="10563" y="8401"/>
                    </a:lnTo>
                    <a:lnTo>
                      <a:pt x="11490" y="8525"/>
                    </a:lnTo>
                    <a:lnTo>
                      <a:pt x="12416" y="8586"/>
                    </a:lnTo>
                    <a:lnTo>
                      <a:pt x="12416" y="8586"/>
                    </a:lnTo>
                    <a:lnTo>
                      <a:pt x="12416" y="8586"/>
                    </a:lnTo>
                    <a:lnTo>
                      <a:pt x="12416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648"/>
                    </a:lnTo>
                    <a:lnTo>
                      <a:pt x="12601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219" y="8648"/>
                    </a:lnTo>
                    <a:lnTo>
                      <a:pt x="13219" y="8648"/>
                    </a:lnTo>
                    <a:lnTo>
                      <a:pt x="13219" y="8648"/>
                    </a:lnTo>
                    <a:lnTo>
                      <a:pt x="13219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652" y="8648"/>
                    </a:lnTo>
                    <a:lnTo>
                      <a:pt x="13652" y="8648"/>
                    </a:lnTo>
                    <a:lnTo>
                      <a:pt x="13652" y="8648"/>
                    </a:lnTo>
                    <a:lnTo>
                      <a:pt x="13652" y="8648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4702" y="8525"/>
                    </a:lnTo>
                    <a:lnTo>
                      <a:pt x="15690" y="8401"/>
                    </a:lnTo>
                    <a:lnTo>
                      <a:pt x="15690" y="8401"/>
                    </a:lnTo>
                    <a:lnTo>
                      <a:pt x="15072" y="7722"/>
                    </a:lnTo>
                    <a:lnTo>
                      <a:pt x="14578" y="6980"/>
                    </a:lnTo>
                    <a:lnTo>
                      <a:pt x="14084" y="6177"/>
                    </a:lnTo>
                    <a:lnTo>
                      <a:pt x="13713" y="5374"/>
                    </a:lnTo>
                    <a:lnTo>
                      <a:pt x="13404" y="4510"/>
                    </a:lnTo>
                    <a:lnTo>
                      <a:pt x="13096" y="3583"/>
                    </a:lnTo>
                    <a:lnTo>
                      <a:pt x="12910" y="2656"/>
                    </a:lnTo>
                    <a:lnTo>
                      <a:pt x="12787" y="1730"/>
                    </a:lnTo>
                    <a:lnTo>
                      <a:pt x="12787" y="1730"/>
                    </a:lnTo>
                    <a:lnTo>
                      <a:pt x="11366" y="1668"/>
                    </a:lnTo>
                    <a:lnTo>
                      <a:pt x="9945" y="1483"/>
                    </a:lnTo>
                    <a:lnTo>
                      <a:pt x="8525" y="1298"/>
                    </a:lnTo>
                    <a:lnTo>
                      <a:pt x="7166" y="1050"/>
                    </a:lnTo>
                    <a:lnTo>
                      <a:pt x="7166" y="1050"/>
                    </a:lnTo>
                    <a:lnTo>
                      <a:pt x="6239" y="865"/>
                    </a:lnTo>
                    <a:lnTo>
                      <a:pt x="5312" y="618"/>
                    </a:lnTo>
                    <a:lnTo>
                      <a:pt x="4386" y="309"/>
                    </a:lnTo>
                    <a:lnTo>
                      <a:pt x="3459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7" name="Google Shape;980;p142">
                <a:extLst>
                  <a:ext uri="{FF2B5EF4-FFF2-40B4-BE49-F238E27FC236}">
                    <a16:creationId xmlns:a16="http://schemas.microsoft.com/office/drawing/2014/main" id="{06084EA3-A666-0BFD-2AB2-8980F4D852F9}"/>
                  </a:ext>
                </a:extLst>
              </p:cNvPr>
              <p:cNvSpPr/>
              <p:nvPr/>
            </p:nvSpPr>
            <p:spPr>
              <a:xfrm>
                <a:off x="11070885" y="2563006"/>
                <a:ext cx="68506" cy="63477"/>
              </a:xfrm>
              <a:custGeom>
                <a:avLst/>
                <a:gdLst/>
                <a:ahLst/>
                <a:cxnLst/>
                <a:rect l="l" t="t" r="r" b="b"/>
                <a:pathLst>
                  <a:path w="5869" h="5437" extrusionOk="0">
                    <a:moveTo>
                      <a:pt x="0" y="1"/>
                    </a:moveTo>
                    <a:lnTo>
                      <a:pt x="0" y="62"/>
                    </a:lnTo>
                    <a:lnTo>
                      <a:pt x="186" y="495"/>
                    </a:lnTo>
                    <a:lnTo>
                      <a:pt x="371" y="989"/>
                    </a:lnTo>
                    <a:lnTo>
                      <a:pt x="556" y="1483"/>
                    </a:lnTo>
                    <a:lnTo>
                      <a:pt x="741" y="1854"/>
                    </a:lnTo>
                    <a:lnTo>
                      <a:pt x="1174" y="2224"/>
                    </a:lnTo>
                    <a:lnTo>
                      <a:pt x="1606" y="2595"/>
                    </a:lnTo>
                    <a:lnTo>
                      <a:pt x="2100" y="2966"/>
                    </a:lnTo>
                    <a:lnTo>
                      <a:pt x="2595" y="3275"/>
                    </a:lnTo>
                    <a:lnTo>
                      <a:pt x="3645" y="3830"/>
                    </a:lnTo>
                    <a:lnTo>
                      <a:pt x="4818" y="4263"/>
                    </a:lnTo>
                    <a:lnTo>
                      <a:pt x="4818" y="4263"/>
                    </a:lnTo>
                    <a:lnTo>
                      <a:pt x="5065" y="4139"/>
                    </a:lnTo>
                    <a:lnTo>
                      <a:pt x="5868" y="3583"/>
                    </a:lnTo>
                    <a:lnTo>
                      <a:pt x="4324" y="2904"/>
                    </a:lnTo>
                    <a:lnTo>
                      <a:pt x="3521" y="2472"/>
                    </a:lnTo>
                    <a:lnTo>
                      <a:pt x="2780" y="2039"/>
                    </a:lnTo>
                    <a:lnTo>
                      <a:pt x="2039" y="1607"/>
                    </a:lnTo>
                    <a:lnTo>
                      <a:pt x="1297" y="1113"/>
                    </a:lnTo>
                    <a:lnTo>
                      <a:pt x="618" y="618"/>
                    </a:lnTo>
                    <a:lnTo>
                      <a:pt x="0" y="1"/>
                    </a:lnTo>
                    <a:close/>
                    <a:moveTo>
                      <a:pt x="4818" y="4263"/>
                    </a:moveTo>
                    <a:lnTo>
                      <a:pt x="4201" y="4572"/>
                    </a:lnTo>
                    <a:lnTo>
                      <a:pt x="3336" y="5004"/>
                    </a:lnTo>
                    <a:lnTo>
                      <a:pt x="2409" y="5436"/>
                    </a:lnTo>
                    <a:lnTo>
                      <a:pt x="2409" y="5436"/>
                    </a:lnTo>
                    <a:lnTo>
                      <a:pt x="3645" y="4881"/>
                    </a:lnTo>
                    <a:lnTo>
                      <a:pt x="4818" y="4263"/>
                    </a:lnTo>
                    <a:close/>
                  </a:path>
                </a:pathLst>
              </a:custGeom>
              <a:solidFill>
                <a:srgbClr val="52938F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8" name="Google Shape;981;p142">
                <a:extLst>
                  <a:ext uri="{FF2B5EF4-FFF2-40B4-BE49-F238E27FC236}">
                    <a16:creationId xmlns:a16="http://schemas.microsoft.com/office/drawing/2014/main" id="{AD225CE7-029D-ED40-6E5F-CD4ED62D28DE}"/>
                  </a:ext>
                </a:extLst>
              </p:cNvPr>
              <p:cNvSpPr/>
              <p:nvPr/>
            </p:nvSpPr>
            <p:spPr>
              <a:xfrm>
                <a:off x="11070885" y="2563006"/>
                <a:ext cx="68506" cy="63477"/>
              </a:xfrm>
              <a:custGeom>
                <a:avLst/>
                <a:gdLst/>
                <a:ahLst/>
                <a:cxnLst/>
                <a:rect l="l" t="t" r="r" b="b"/>
                <a:pathLst>
                  <a:path w="5869" h="5437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186" y="495"/>
                    </a:lnTo>
                    <a:lnTo>
                      <a:pt x="371" y="989"/>
                    </a:lnTo>
                    <a:lnTo>
                      <a:pt x="556" y="1483"/>
                    </a:lnTo>
                    <a:lnTo>
                      <a:pt x="741" y="1854"/>
                    </a:lnTo>
                    <a:lnTo>
                      <a:pt x="741" y="1854"/>
                    </a:lnTo>
                    <a:lnTo>
                      <a:pt x="1174" y="2224"/>
                    </a:lnTo>
                    <a:lnTo>
                      <a:pt x="1606" y="2595"/>
                    </a:lnTo>
                    <a:lnTo>
                      <a:pt x="2100" y="2966"/>
                    </a:lnTo>
                    <a:lnTo>
                      <a:pt x="2595" y="3275"/>
                    </a:lnTo>
                    <a:lnTo>
                      <a:pt x="3645" y="3830"/>
                    </a:lnTo>
                    <a:lnTo>
                      <a:pt x="4818" y="4263"/>
                    </a:lnTo>
                    <a:lnTo>
                      <a:pt x="4818" y="4263"/>
                    </a:lnTo>
                    <a:lnTo>
                      <a:pt x="3645" y="4881"/>
                    </a:lnTo>
                    <a:lnTo>
                      <a:pt x="2409" y="5436"/>
                    </a:lnTo>
                    <a:lnTo>
                      <a:pt x="2409" y="5436"/>
                    </a:lnTo>
                    <a:lnTo>
                      <a:pt x="2409" y="5436"/>
                    </a:lnTo>
                    <a:lnTo>
                      <a:pt x="2409" y="5436"/>
                    </a:lnTo>
                    <a:lnTo>
                      <a:pt x="3336" y="5004"/>
                    </a:lnTo>
                    <a:lnTo>
                      <a:pt x="4201" y="4572"/>
                    </a:lnTo>
                    <a:lnTo>
                      <a:pt x="5065" y="4139"/>
                    </a:lnTo>
                    <a:lnTo>
                      <a:pt x="5868" y="3583"/>
                    </a:lnTo>
                    <a:lnTo>
                      <a:pt x="5868" y="3583"/>
                    </a:lnTo>
                    <a:lnTo>
                      <a:pt x="4324" y="2904"/>
                    </a:lnTo>
                    <a:lnTo>
                      <a:pt x="3521" y="2472"/>
                    </a:lnTo>
                    <a:lnTo>
                      <a:pt x="2780" y="2039"/>
                    </a:lnTo>
                    <a:lnTo>
                      <a:pt x="2039" y="1607"/>
                    </a:lnTo>
                    <a:lnTo>
                      <a:pt x="1297" y="1113"/>
                    </a:lnTo>
                    <a:lnTo>
                      <a:pt x="618" y="618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52938F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9" name="Google Shape;982;p142">
                <a:extLst>
                  <a:ext uri="{FF2B5EF4-FFF2-40B4-BE49-F238E27FC236}">
                    <a16:creationId xmlns:a16="http://schemas.microsoft.com/office/drawing/2014/main" id="{5F0609D3-B9C7-4481-DD16-844186710A7D}"/>
                  </a:ext>
                </a:extLst>
              </p:cNvPr>
              <p:cNvSpPr/>
              <p:nvPr/>
            </p:nvSpPr>
            <p:spPr>
              <a:xfrm>
                <a:off x="11334521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0" name="Google Shape;983;p142">
                <a:extLst>
                  <a:ext uri="{FF2B5EF4-FFF2-40B4-BE49-F238E27FC236}">
                    <a16:creationId xmlns:a16="http://schemas.microsoft.com/office/drawing/2014/main" id="{F22C170C-6A81-7D4A-C10A-DF2067EB4B7A}"/>
                  </a:ext>
                </a:extLst>
              </p:cNvPr>
              <p:cNvSpPr/>
              <p:nvPr/>
            </p:nvSpPr>
            <p:spPr>
              <a:xfrm>
                <a:off x="11333935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1" name="Google Shape;984;p142">
                <a:extLst>
                  <a:ext uri="{FF2B5EF4-FFF2-40B4-BE49-F238E27FC236}">
                    <a16:creationId xmlns:a16="http://schemas.microsoft.com/office/drawing/2014/main" id="{54B2B432-33E3-93AD-BAB1-ED09B97DA19B}"/>
                  </a:ext>
                </a:extLst>
              </p:cNvPr>
              <p:cNvSpPr/>
              <p:nvPr/>
            </p:nvSpPr>
            <p:spPr>
              <a:xfrm>
                <a:off x="11333935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2" name="Google Shape;985;p142">
                <a:extLst>
                  <a:ext uri="{FF2B5EF4-FFF2-40B4-BE49-F238E27FC236}">
                    <a16:creationId xmlns:a16="http://schemas.microsoft.com/office/drawing/2014/main" id="{5D2B5DA2-C8E0-8942-231A-42E86D23F9E9}"/>
                  </a:ext>
                </a:extLst>
              </p:cNvPr>
              <p:cNvSpPr/>
              <p:nvPr/>
            </p:nvSpPr>
            <p:spPr>
              <a:xfrm>
                <a:off x="11333350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3" name="Google Shape;986;p142">
                <a:extLst>
                  <a:ext uri="{FF2B5EF4-FFF2-40B4-BE49-F238E27FC236}">
                    <a16:creationId xmlns:a16="http://schemas.microsoft.com/office/drawing/2014/main" id="{BA26D72B-B1DA-36C1-D3C5-693FA369371A}"/>
                  </a:ext>
                </a:extLst>
              </p:cNvPr>
              <p:cNvSpPr/>
              <p:nvPr/>
            </p:nvSpPr>
            <p:spPr>
              <a:xfrm>
                <a:off x="11332773" y="2746862"/>
                <a:ext cx="586" cy="9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4" name="Google Shape;987;p142">
                <a:extLst>
                  <a:ext uri="{FF2B5EF4-FFF2-40B4-BE49-F238E27FC236}">
                    <a16:creationId xmlns:a16="http://schemas.microsoft.com/office/drawing/2014/main" id="{886D357A-4700-BD53-AA8A-1B381CBE21E0}"/>
                  </a:ext>
                </a:extLst>
              </p:cNvPr>
              <p:cNvSpPr/>
              <p:nvPr/>
            </p:nvSpPr>
            <p:spPr>
              <a:xfrm>
                <a:off x="11332773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5" name="Google Shape;988;p142">
                <a:extLst>
                  <a:ext uri="{FF2B5EF4-FFF2-40B4-BE49-F238E27FC236}">
                    <a16:creationId xmlns:a16="http://schemas.microsoft.com/office/drawing/2014/main" id="{5DDFB4E9-5E13-AB6D-8B79-E5BA999CAE87}"/>
                  </a:ext>
                </a:extLst>
              </p:cNvPr>
              <p:cNvSpPr/>
              <p:nvPr/>
            </p:nvSpPr>
            <p:spPr>
              <a:xfrm>
                <a:off x="11332188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6" name="Google Shape;989;p142">
                <a:extLst>
                  <a:ext uri="{FF2B5EF4-FFF2-40B4-BE49-F238E27FC236}">
                    <a16:creationId xmlns:a16="http://schemas.microsoft.com/office/drawing/2014/main" id="{C07965A4-CF32-EDDE-10D3-7092A414DA65}"/>
                  </a:ext>
                </a:extLst>
              </p:cNvPr>
              <p:cNvSpPr/>
              <p:nvPr/>
            </p:nvSpPr>
            <p:spPr>
              <a:xfrm>
                <a:off x="11332188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7" name="Google Shape;990;p142">
                <a:extLst>
                  <a:ext uri="{FF2B5EF4-FFF2-40B4-BE49-F238E27FC236}">
                    <a16:creationId xmlns:a16="http://schemas.microsoft.com/office/drawing/2014/main" id="{B3CDAACE-FFDB-AB9A-3A71-4219E89E6210}"/>
                  </a:ext>
                </a:extLst>
              </p:cNvPr>
              <p:cNvSpPr/>
              <p:nvPr/>
            </p:nvSpPr>
            <p:spPr>
              <a:xfrm>
                <a:off x="11332188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8" name="Google Shape;991;p142">
                <a:extLst>
                  <a:ext uri="{FF2B5EF4-FFF2-40B4-BE49-F238E27FC236}">
                    <a16:creationId xmlns:a16="http://schemas.microsoft.com/office/drawing/2014/main" id="{7128E2E9-CDBD-266A-D5D0-F7B1CFF63C48}"/>
                  </a:ext>
                </a:extLst>
              </p:cNvPr>
              <p:cNvSpPr/>
              <p:nvPr/>
            </p:nvSpPr>
            <p:spPr>
              <a:xfrm>
                <a:off x="11331602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9" name="Google Shape;992;p142">
                <a:extLst>
                  <a:ext uri="{FF2B5EF4-FFF2-40B4-BE49-F238E27FC236}">
                    <a16:creationId xmlns:a16="http://schemas.microsoft.com/office/drawing/2014/main" id="{7661D0E6-AE6B-69A2-EF21-880B2F35B2FF}"/>
                  </a:ext>
                </a:extLst>
              </p:cNvPr>
              <p:cNvSpPr/>
              <p:nvPr/>
            </p:nvSpPr>
            <p:spPr>
              <a:xfrm>
                <a:off x="11331602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0" name="Google Shape;993;p142">
                <a:extLst>
                  <a:ext uri="{FF2B5EF4-FFF2-40B4-BE49-F238E27FC236}">
                    <a16:creationId xmlns:a16="http://schemas.microsoft.com/office/drawing/2014/main" id="{27EB6C4D-55D1-D3B1-516B-31E5E8AE6699}"/>
                  </a:ext>
                </a:extLst>
              </p:cNvPr>
              <p:cNvSpPr/>
              <p:nvPr/>
            </p:nvSpPr>
            <p:spPr>
              <a:xfrm>
                <a:off x="11331016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1" name="Google Shape;994;p142">
                <a:extLst>
                  <a:ext uri="{FF2B5EF4-FFF2-40B4-BE49-F238E27FC236}">
                    <a16:creationId xmlns:a16="http://schemas.microsoft.com/office/drawing/2014/main" id="{F78DB933-D847-E962-F193-7C068E73194F}"/>
                  </a:ext>
                </a:extLst>
              </p:cNvPr>
              <p:cNvSpPr/>
              <p:nvPr/>
            </p:nvSpPr>
            <p:spPr>
              <a:xfrm>
                <a:off x="11331016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2" name="Google Shape;995;p142">
                <a:extLst>
                  <a:ext uri="{FF2B5EF4-FFF2-40B4-BE49-F238E27FC236}">
                    <a16:creationId xmlns:a16="http://schemas.microsoft.com/office/drawing/2014/main" id="{CCFD8B2C-2C9A-44E0-6D34-809772A202B5}"/>
                  </a:ext>
                </a:extLst>
              </p:cNvPr>
              <p:cNvSpPr/>
              <p:nvPr/>
            </p:nvSpPr>
            <p:spPr>
              <a:xfrm>
                <a:off x="11330440" y="2746862"/>
                <a:ext cx="586" cy="9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3" name="Google Shape;996;p142">
                <a:extLst>
                  <a:ext uri="{FF2B5EF4-FFF2-40B4-BE49-F238E27FC236}">
                    <a16:creationId xmlns:a16="http://schemas.microsoft.com/office/drawing/2014/main" id="{291CAD91-3965-6A3C-1616-FCBCBE042514}"/>
                  </a:ext>
                </a:extLst>
              </p:cNvPr>
              <p:cNvSpPr/>
              <p:nvPr/>
            </p:nvSpPr>
            <p:spPr>
              <a:xfrm>
                <a:off x="11330440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4" name="Google Shape;997;p142">
                <a:extLst>
                  <a:ext uri="{FF2B5EF4-FFF2-40B4-BE49-F238E27FC236}">
                    <a16:creationId xmlns:a16="http://schemas.microsoft.com/office/drawing/2014/main" id="{45D2C15E-5E96-02A7-CCB7-654D9C14EAC4}"/>
                  </a:ext>
                </a:extLst>
              </p:cNvPr>
              <p:cNvSpPr/>
              <p:nvPr/>
            </p:nvSpPr>
            <p:spPr>
              <a:xfrm>
                <a:off x="11329854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5" name="Google Shape;998;p142">
                <a:extLst>
                  <a:ext uri="{FF2B5EF4-FFF2-40B4-BE49-F238E27FC236}">
                    <a16:creationId xmlns:a16="http://schemas.microsoft.com/office/drawing/2014/main" id="{8DE775AE-3D2A-0F96-8225-9302DC73F089}"/>
                  </a:ext>
                </a:extLst>
              </p:cNvPr>
              <p:cNvSpPr/>
              <p:nvPr/>
            </p:nvSpPr>
            <p:spPr>
              <a:xfrm>
                <a:off x="11329854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6" name="Google Shape;999;p142">
                <a:extLst>
                  <a:ext uri="{FF2B5EF4-FFF2-40B4-BE49-F238E27FC236}">
                    <a16:creationId xmlns:a16="http://schemas.microsoft.com/office/drawing/2014/main" id="{61B6C43F-4835-772C-7707-851C7FCB659E}"/>
                  </a:ext>
                </a:extLst>
              </p:cNvPr>
              <p:cNvSpPr/>
              <p:nvPr/>
            </p:nvSpPr>
            <p:spPr>
              <a:xfrm>
                <a:off x="11329268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7" name="Google Shape;1000;p142">
                <a:extLst>
                  <a:ext uri="{FF2B5EF4-FFF2-40B4-BE49-F238E27FC236}">
                    <a16:creationId xmlns:a16="http://schemas.microsoft.com/office/drawing/2014/main" id="{8E2FDD1C-CA92-CFDD-B564-8DDE813B9CFF}"/>
                  </a:ext>
                </a:extLst>
              </p:cNvPr>
              <p:cNvSpPr/>
              <p:nvPr/>
            </p:nvSpPr>
            <p:spPr>
              <a:xfrm>
                <a:off x="11329268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8" name="Google Shape;1001;p142">
                <a:extLst>
                  <a:ext uri="{FF2B5EF4-FFF2-40B4-BE49-F238E27FC236}">
                    <a16:creationId xmlns:a16="http://schemas.microsoft.com/office/drawing/2014/main" id="{10DC3C2E-F8E4-8BBC-C6DA-F0466806C26A}"/>
                  </a:ext>
                </a:extLst>
              </p:cNvPr>
              <p:cNvSpPr/>
              <p:nvPr/>
            </p:nvSpPr>
            <p:spPr>
              <a:xfrm>
                <a:off x="11328683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63" y="1"/>
                    </a:lnTo>
                    <a:lnTo>
                      <a:pt x="63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9" name="Google Shape;1002;p142">
                <a:extLst>
                  <a:ext uri="{FF2B5EF4-FFF2-40B4-BE49-F238E27FC236}">
                    <a16:creationId xmlns:a16="http://schemas.microsoft.com/office/drawing/2014/main" id="{D7D69EA1-31B3-FE00-0375-B00F4C2DB377}"/>
                  </a:ext>
                </a:extLst>
              </p:cNvPr>
              <p:cNvSpPr/>
              <p:nvPr/>
            </p:nvSpPr>
            <p:spPr>
              <a:xfrm>
                <a:off x="11328683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0" name="Google Shape;1003;p142">
                <a:extLst>
                  <a:ext uri="{FF2B5EF4-FFF2-40B4-BE49-F238E27FC236}">
                    <a16:creationId xmlns:a16="http://schemas.microsoft.com/office/drawing/2014/main" id="{E9FFB45C-C0BD-7F10-C224-EEEB18CA4FB4}"/>
                  </a:ext>
                </a:extLst>
              </p:cNvPr>
              <p:cNvSpPr/>
              <p:nvPr/>
            </p:nvSpPr>
            <p:spPr>
              <a:xfrm>
                <a:off x="11328683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1" name="Google Shape;1004;p142">
                <a:extLst>
                  <a:ext uri="{FF2B5EF4-FFF2-40B4-BE49-F238E27FC236}">
                    <a16:creationId xmlns:a16="http://schemas.microsoft.com/office/drawing/2014/main" id="{B9F63118-C01E-3C2C-ACBE-3A4B0382CAA1}"/>
                  </a:ext>
                </a:extLst>
              </p:cNvPr>
              <p:cNvSpPr/>
              <p:nvPr/>
            </p:nvSpPr>
            <p:spPr>
              <a:xfrm>
                <a:off x="11328106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2" name="Google Shape;1005;p142">
                <a:extLst>
                  <a:ext uri="{FF2B5EF4-FFF2-40B4-BE49-F238E27FC236}">
                    <a16:creationId xmlns:a16="http://schemas.microsoft.com/office/drawing/2014/main" id="{0BA2196D-FC3F-F213-E78A-4D7D8FED74AB}"/>
                  </a:ext>
                </a:extLst>
              </p:cNvPr>
              <p:cNvSpPr/>
              <p:nvPr/>
            </p:nvSpPr>
            <p:spPr>
              <a:xfrm>
                <a:off x="11328106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3" name="Google Shape;1006;p142">
                <a:extLst>
                  <a:ext uri="{FF2B5EF4-FFF2-40B4-BE49-F238E27FC236}">
                    <a16:creationId xmlns:a16="http://schemas.microsoft.com/office/drawing/2014/main" id="{159330C2-C3FD-CE04-F4C4-8B729BB66E91}"/>
                  </a:ext>
                </a:extLst>
              </p:cNvPr>
              <p:cNvSpPr/>
              <p:nvPr/>
            </p:nvSpPr>
            <p:spPr>
              <a:xfrm>
                <a:off x="11327521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4" name="Google Shape;1007;p142">
                <a:extLst>
                  <a:ext uri="{FF2B5EF4-FFF2-40B4-BE49-F238E27FC236}">
                    <a16:creationId xmlns:a16="http://schemas.microsoft.com/office/drawing/2014/main" id="{53466219-3FD1-D4F4-0729-6447A8AB4234}"/>
                  </a:ext>
                </a:extLst>
              </p:cNvPr>
              <p:cNvSpPr/>
              <p:nvPr/>
            </p:nvSpPr>
            <p:spPr>
              <a:xfrm>
                <a:off x="11327521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5" name="Google Shape;1008;p142">
                <a:extLst>
                  <a:ext uri="{FF2B5EF4-FFF2-40B4-BE49-F238E27FC236}">
                    <a16:creationId xmlns:a16="http://schemas.microsoft.com/office/drawing/2014/main" id="{8ED75430-65B4-C820-6FEB-0CA3B9373D61}"/>
                  </a:ext>
                </a:extLst>
              </p:cNvPr>
              <p:cNvSpPr/>
              <p:nvPr/>
            </p:nvSpPr>
            <p:spPr>
              <a:xfrm>
                <a:off x="11326935" y="2746286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6" name="Google Shape;1009;p142">
                <a:extLst>
                  <a:ext uri="{FF2B5EF4-FFF2-40B4-BE49-F238E27FC236}">
                    <a16:creationId xmlns:a16="http://schemas.microsoft.com/office/drawing/2014/main" id="{AA8A8AF3-790B-4750-D342-3501EE9254B6}"/>
                  </a:ext>
                </a:extLst>
              </p:cNvPr>
              <p:cNvSpPr/>
              <p:nvPr/>
            </p:nvSpPr>
            <p:spPr>
              <a:xfrm>
                <a:off x="11326935" y="2746286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7" name="Google Shape;1010;p142">
                <a:extLst>
                  <a:ext uri="{FF2B5EF4-FFF2-40B4-BE49-F238E27FC236}">
                    <a16:creationId xmlns:a16="http://schemas.microsoft.com/office/drawing/2014/main" id="{D103ADD2-18AB-D06A-5402-F61D03E4F58D}"/>
                  </a:ext>
                </a:extLst>
              </p:cNvPr>
              <p:cNvSpPr/>
              <p:nvPr/>
            </p:nvSpPr>
            <p:spPr>
              <a:xfrm>
                <a:off x="11326349" y="2746286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8" name="Google Shape;1011;p142">
                <a:extLst>
                  <a:ext uri="{FF2B5EF4-FFF2-40B4-BE49-F238E27FC236}">
                    <a16:creationId xmlns:a16="http://schemas.microsoft.com/office/drawing/2014/main" id="{C173221A-CC8F-E65B-58D5-2F0E9BA4A347}"/>
                  </a:ext>
                </a:extLst>
              </p:cNvPr>
              <p:cNvSpPr/>
              <p:nvPr/>
            </p:nvSpPr>
            <p:spPr>
              <a:xfrm>
                <a:off x="11326349" y="2746286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29" name="Google Shape;1012;p142">
                <a:extLst>
                  <a:ext uri="{FF2B5EF4-FFF2-40B4-BE49-F238E27FC236}">
                    <a16:creationId xmlns:a16="http://schemas.microsoft.com/office/drawing/2014/main" id="{52E99550-1911-8B4F-1A4A-E91A5C523F61}"/>
                  </a:ext>
                </a:extLst>
              </p:cNvPr>
              <p:cNvSpPr/>
              <p:nvPr/>
            </p:nvSpPr>
            <p:spPr>
              <a:xfrm>
                <a:off x="10837332" y="2530577"/>
                <a:ext cx="289863" cy="110340"/>
              </a:xfrm>
              <a:custGeom>
                <a:avLst/>
                <a:gdLst/>
                <a:ahLst/>
                <a:cxnLst/>
                <a:rect l="l" t="t" r="r" b="b"/>
                <a:pathLst>
                  <a:path w="24833" h="9451" extrusionOk="0">
                    <a:moveTo>
                      <a:pt x="1" y="0"/>
                    </a:moveTo>
                    <a:lnTo>
                      <a:pt x="557" y="988"/>
                    </a:lnTo>
                    <a:lnTo>
                      <a:pt x="1112" y="1915"/>
                    </a:lnTo>
                    <a:lnTo>
                      <a:pt x="1792" y="2780"/>
                    </a:lnTo>
                    <a:lnTo>
                      <a:pt x="2471" y="3644"/>
                    </a:lnTo>
                    <a:lnTo>
                      <a:pt x="3274" y="4448"/>
                    </a:lnTo>
                    <a:lnTo>
                      <a:pt x="4077" y="5189"/>
                    </a:lnTo>
                    <a:lnTo>
                      <a:pt x="5004" y="5868"/>
                    </a:lnTo>
                    <a:lnTo>
                      <a:pt x="5869" y="6548"/>
                    </a:lnTo>
                    <a:lnTo>
                      <a:pt x="6857" y="7104"/>
                    </a:lnTo>
                    <a:lnTo>
                      <a:pt x="7845" y="7660"/>
                    </a:lnTo>
                    <a:lnTo>
                      <a:pt x="8896" y="8092"/>
                    </a:lnTo>
                    <a:lnTo>
                      <a:pt x="10007" y="8524"/>
                    </a:lnTo>
                    <a:lnTo>
                      <a:pt x="11119" y="8833"/>
                    </a:lnTo>
                    <a:lnTo>
                      <a:pt x="12293" y="9080"/>
                    </a:lnTo>
                    <a:lnTo>
                      <a:pt x="13467" y="9327"/>
                    </a:lnTo>
                    <a:lnTo>
                      <a:pt x="14640" y="9389"/>
                    </a:lnTo>
                    <a:lnTo>
                      <a:pt x="14887" y="9389"/>
                    </a:lnTo>
                    <a:lnTo>
                      <a:pt x="14887" y="9451"/>
                    </a:lnTo>
                    <a:lnTo>
                      <a:pt x="16061" y="9451"/>
                    </a:lnTo>
                    <a:lnTo>
                      <a:pt x="16926" y="9389"/>
                    </a:lnTo>
                    <a:lnTo>
                      <a:pt x="17729" y="9327"/>
                    </a:lnTo>
                    <a:lnTo>
                      <a:pt x="18532" y="9204"/>
                    </a:lnTo>
                    <a:lnTo>
                      <a:pt x="19335" y="9080"/>
                    </a:lnTo>
                    <a:lnTo>
                      <a:pt x="20941" y="8710"/>
                    </a:lnTo>
                    <a:lnTo>
                      <a:pt x="22423" y="8215"/>
                    </a:lnTo>
                    <a:lnTo>
                      <a:pt x="23659" y="7660"/>
                    </a:lnTo>
                    <a:lnTo>
                      <a:pt x="24832" y="7042"/>
                    </a:lnTo>
                    <a:lnTo>
                      <a:pt x="23659" y="6609"/>
                    </a:lnTo>
                    <a:lnTo>
                      <a:pt x="22609" y="6054"/>
                    </a:lnTo>
                    <a:lnTo>
                      <a:pt x="22114" y="5745"/>
                    </a:lnTo>
                    <a:lnTo>
                      <a:pt x="21620" y="5374"/>
                    </a:lnTo>
                    <a:lnTo>
                      <a:pt x="21188" y="5003"/>
                    </a:lnTo>
                    <a:lnTo>
                      <a:pt x="20755" y="4633"/>
                    </a:lnTo>
                    <a:lnTo>
                      <a:pt x="20570" y="4262"/>
                    </a:lnTo>
                    <a:lnTo>
                      <a:pt x="20385" y="3768"/>
                    </a:lnTo>
                    <a:lnTo>
                      <a:pt x="20200" y="3274"/>
                    </a:lnTo>
                    <a:lnTo>
                      <a:pt x="20014" y="2841"/>
                    </a:lnTo>
                    <a:lnTo>
                      <a:pt x="19952" y="2841"/>
                    </a:lnTo>
                    <a:lnTo>
                      <a:pt x="17976" y="3274"/>
                    </a:lnTo>
                    <a:lnTo>
                      <a:pt x="15999" y="3644"/>
                    </a:lnTo>
                    <a:lnTo>
                      <a:pt x="13961" y="3892"/>
                    </a:lnTo>
                    <a:lnTo>
                      <a:pt x="12972" y="3953"/>
                    </a:lnTo>
                    <a:lnTo>
                      <a:pt x="11922" y="3953"/>
                    </a:lnTo>
                    <a:lnTo>
                      <a:pt x="10316" y="3892"/>
                    </a:lnTo>
                    <a:lnTo>
                      <a:pt x="8648" y="3768"/>
                    </a:lnTo>
                    <a:lnTo>
                      <a:pt x="7042" y="3459"/>
                    </a:lnTo>
                    <a:lnTo>
                      <a:pt x="5498" y="3027"/>
                    </a:lnTo>
                    <a:lnTo>
                      <a:pt x="4757" y="2780"/>
                    </a:lnTo>
                    <a:lnTo>
                      <a:pt x="4016" y="2471"/>
                    </a:lnTo>
                    <a:lnTo>
                      <a:pt x="3274" y="2162"/>
                    </a:lnTo>
                    <a:lnTo>
                      <a:pt x="2595" y="1791"/>
                    </a:lnTo>
                    <a:lnTo>
                      <a:pt x="1915" y="1421"/>
                    </a:lnTo>
                    <a:lnTo>
                      <a:pt x="1236" y="988"/>
                    </a:lnTo>
                    <a:lnTo>
                      <a:pt x="618" y="49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52938F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0" name="Google Shape;1013;p142">
                <a:extLst>
                  <a:ext uri="{FF2B5EF4-FFF2-40B4-BE49-F238E27FC236}">
                    <a16:creationId xmlns:a16="http://schemas.microsoft.com/office/drawing/2014/main" id="{98B59F9D-52DF-A82B-E7A6-F46507897423}"/>
                  </a:ext>
                </a:extLst>
              </p:cNvPr>
              <p:cNvSpPr/>
              <p:nvPr/>
            </p:nvSpPr>
            <p:spPr>
              <a:xfrm>
                <a:off x="10837332" y="2530577"/>
                <a:ext cx="289863" cy="110340"/>
              </a:xfrm>
              <a:custGeom>
                <a:avLst/>
                <a:gdLst/>
                <a:ahLst/>
                <a:cxnLst/>
                <a:rect l="l" t="t" r="r" b="b"/>
                <a:pathLst>
                  <a:path w="24833" h="945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557" y="988"/>
                    </a:lnTo>
                    <a:lnTo>
                      <a:pt x="1112" y="1915"/>
                    </a:lnTo>
                    <a:lnTo>
                      <a:pt x="1792" y="2780"/>
                    </a:lnTo>
                    <a:lnTo>
                      <a:pt x="2471" y="3644"/>
                    </a:lnTo>
                    <a:lnTo>
                      <a:pt x="3274" y="4448"/>
                    </a:lnTo>
                    <a:lnTo>
                      <a:pt x="4077" y="5189"/>
                    </a:lnTo>
                    <a:lnTo>
                      <a:pt x="5004" y="5868"/>
                    </a:lnTo>
                    <a:lnTo>
                      <a:pt x="5869" y="6548"/>
                    </a:lnTo>
                    <a:lnTo>
                      <a:pt x="6857" y="7104"/>
                    </a:lnTo>
                    <a:lnTo>
                      <a:pt x="7845" y="7660"/>
                    </a:lnTo>
                    <a:lnTo>
                      <a:pt x="8896" y="8092"/>
                    </a:lnTo>
                    <a:lnTo>
                      <a:pt x="10007" y="8524"/>
                    </a:lnTo>
                    <a:lnTo>
                      <a:pt x="11119" y="8833"/>
                    </a:lnTo>
                    <a:lnTo>
                      <a:pt x="12293" y="9080"/>
                    </a:lnTo>
                    <a:lnTo>
                      <a:pt x="13467" y="9327"/>
                    </a:lnTo>
                    <a:lnTo>
                      <a:pt x="14640" y="9389"/>
                    </a:lnTo>
                    <a:lnTo>
                      <a:pt x="14640" y="9389"/>
                    </a:lnTo>
                    <a:lnTo>
                      <a:pt x="14640" y="9389"/>
                    </a:lnTo>
                    <a:lnTo>
                      <a:pt x="14702" y="9389"/>
                    </a:lnTo>
                    <a:lnTo>
                      <a:pt x="14702" y="9389"/>
                    </a:lnTo>
                    <a:lnTo>
                      <a:pt x="14702" y="9389"/>
                    </a:lnTo>
                    <a:lnTo>
                      <a:pt x="14702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87" y="9389"/>
                    </a:lnTo>
                    <a:lnTo>
                      <a:pt x="14887" y="9389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926" y="9389"/>
                    </a:lnTo>
                    <a:lnTo>
                      <a:pt x="17729" y="9327"/>
                    </a:lnTo>
                    <a:lnTo>
                      <a:pt x="18532" y="9204"/>
                    </a:lnTo>
                    <a:lnTo>
                      <a:pt x="19335" y="9080"/>
                    </a:lnTo>
                    <a:lnTo>
                      <a:pt x="20941" y="8710"/>
                    </a:lnTo>
                    <a:lnTo>
                      <a:pt x="22423" y="8215"/>
                    </a:lnTo>
                    <a:lnTo>
                      <a:pt x="22423" y="8215"/>
                    </a:lnTo>
                    <a:lnTo>
                      <a:pt x="23659" y="7660"/>
                    </a:lnTo>
                    <a:lnTo>
                      <a:pt x="24832" y="7042"/>
                    </a:lnTo>
                    <a:lnTo>
                      <a:pt x="24832" y="7042"/>
                    </a:lnTo>
                    <a:lnTo>
                      <a:pt x="23659" y="6609"/>
                    </a:lnTo>
                    <a:lnTo>
                      <a:pt x="22609" y="6054"/>
                    </a:lnTo>
                    <a:lnTo>
                      <a:pt x="22114" y="5745"/>
                    </a:lnTo>
                    <a:lnTo>
                      <a:pt x="21620" y="5374"/>
                    </a:lnTo>
                    <a:lnTo>
                      <a:pt x="21188" y="5003"/>
                    </a:lnTo>
                    <a:lnTo>
                      <a:pt x="20755" y="4633"/>
                    </a:lnTo>
                    <a:lnTo>
                      <a:pt x="20755" y="4633"/>
                    </a:lnTo>
                    <a:lnTo>
                      <a:pt x="20570" y="4262"/>
                    </a:lnTo>
                    <a:lnTo>
                      <a:pt x="20385" y="3768"/>
                    </a:lnTo>
                    <a:lnTo>
                      <a:pt x="20200" y="3274"/>
                    </a:lnTo>
                    <a:lnTo>
                      <a:pt x="20014" y="2841"/>
                    </a:lnTo>
                    <a:lnTo>
                      <a:pt x="20014" y="2841"/>
                    </a:lnTo>
                    <a:lnTo>
                      <a:pt x="19952" y="2841"/>
                    </a:lnTo>
                    <a:lnTo>
                      <a:pt x="19952" y="2841"/>
                    </a:lnTo>
                    <a:lnTo>
                      <a:pt x="17976" y="3274"/>
                    </a:lnTo>
                    <a:lnTo>
                      <a:pt x="15999" y="3644"/>
                    </a:lnTo>
                    <a:lnTo>
                      <a:pt x="13961" y="3892"/>
                    </a:lnTo>
                    <a:lnTo>
                      <a:pt x="12972" y="3953"/>
                    </a:lnTo>
                    <a:lnTo>
                      <a:pt x="11922" y="3953"/>
                    </a:lnTo>
                    <a:lnTo>
                      <a:pt x="11922" y="3953"/>
                    </a:lnTo>
                    <a:lnTo>
                      <a:pt x="10316" y="3892"/>
                    </a:lnTo>
                    <a:lnTo>
                      <a:pt x="8648" y="3768"/>
                    </a:lnTo>
                    <a:lnTo>
                      <a:pt x="7042" y="3459"/>
                    </a:lnTo>
                    <a:lnTo>
                      <a:pt x="5498" y="3027"/>
                    </a:lnTo>
                    <a:lnTo>
                      <a:pt x="4757" y="2780"/>
                    </a:lnTo>
                    <a:lnTo>
                      <a:pt x="4016" y="2471"/>
                    </a:lnTo>
                    <a:lnTo>
                      <a:pt x="3274" y="2162"/>
                    </a:lnTo>
                    <a:lnTo>
                      <a:pt x="2595" y="1791"/>
                    </a:lnTo>
                    <a:lnTo>
                      <a:pt x="1915" y="1421"/>
                    </a:lnTo>
                    <a:lnTo>
                      <a:pt x="1236" y="988"/>
                    </a:lnTo>
                    <a:lnTo>
                      <a:pt x="618" y="494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B88B55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1" name="Google Shape;1014;p142">
                <a:extLst>
                  <a:ext uri="{FF2B5EF4-FFF2-40B4-BE49-F238E27FC236}">
                    <a16:creationId xmlns:a16="http://schemas.microsoft.com/office/drawing/2014/main" id="{151F7264-6359-31A2-4714-0B2594FB77F9}"/>
                  </a:ext>
                </a:extLst>
              </p:cNvPr>
              <p:cNvSpPr/>
              <p:nvPr/>
            </p:nvSpPr>
            <p:spPr>
              <a:xfrm>
                <a:off x="11383721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2" name="Google Shape;1015;p142">
                <a:extLst>
                  <a:ext uri="{FF2B5EF4-FFF2-40B4-BE49-F238E27FC236}">
                    <a16:creationId xmlns:a16="http://schemas.microsoft.com/office/drawing/2014/main" id="{9F761B45-D801-F43A-7AAA-31201FC40EBC}"/>
                  </a:ext>
                </a:extLst>
              </p:cNvPr>
              <p:cNvSpPr/>
              <p:nvPr/>
            </p:nvSpPr>
            <p:spPr>
              <a:xfrm>
                <a:off x="11383721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3" name="Google Shape;1016;p142">
                <a:extLst>
                  <a:ext uri="{FF2B5EF4-FFF2-40B4-BE49-F238E27FC236}">
                    <a16:creationId xmlns:a16="http://schemas.microsoft.com/office/drawing/2014/main" id="{70E673B7-A6D6-999F-6AA8-0A05F360774D}"/>
                  </a:ext>
                </a:extLst>
              </p:cNvPr>
              <p:cNvSpPr/>
              <p:nvPr/>
            </p:nvSpPr>
            <p:spPr>
              <a:xfrm>
                <a:off x="11383721" y="2748979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4" name="Google Shape;1017;p142">
                <a:extLst>
                  <a:ext uri="{FF2B5EF4-FFF2-40B4-BE49-F238E27FC236}">
                    <a16:creationId xmlns:a16="http://schemas.microsoft.com/office/drawing/2014/main" id="{18ED3153-7B82-56CD-240C-8AAC3044A582}"/>
                  </a:ext>
                </a:extLst>
              </p:cNvPr>
              <p:cNvSpPr/>
              <p:nvPr/>
            </p:nvSpPr>
            <p:spPr>
              <a:xfrm>
                <a:off x="11383721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5" name="Google Shape;1018;p142">
                <a:extLst>
                  <a:ext uri="{FF2B5EF4-FFF2-40B4-BE49-F238E27FC236}">
                    <a16:creationId xmlns:a16="http://schemas.microsoft.com/office/drawing/2014/main" id="{4C53C6FF-D3A2-0679-FA8A-9FA3774461FC}"/>
                  </a:ext>
                </a:extLst>
              </p:cNvPr>
              <p:cNvSpPr/>
              <p:nvPr/>
            </p:nvSpPr>
            <p:spPr>
              <a:xfrm>
                <a:off x="11382998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6" name="Google Shape;1019;p142">
                <a:extLst>
                  <a:ext uri="{FF2B5EF4-FFF2-40B4-BE49-F238E27FC236}">
                    <a16:creationId xmlns:a16="http://schemas.microsoft.com/office/drawing/2014/main" id="{B184C7A2-8FED-3598-C95B-8CD5707D8F26}"/>
                  </a:ext>
                </a:extLst>
              </p:cNvPr>
              <p:cNvSpPr/>
              <p:nvPr/>
            </p:nvSpPr>
            <p:spPr>
              <a:xfrm>
                <a:off x="11382998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7" name="Google Shape;1020;p142">
                <a:extLst>
                  <a:ext uri="{FF2B5EF4-FFF2-40B4-BE49-F238E27FC236}">
                    <a16:creationId xmlns:a16="http://schemas.microsoft.com/office/drawing/2014/main" id="{17EBBE07-6432-BAE5-6E17-442A6DE8EA03}"/>
                  </a:ext>
                </a:extLst>
              </p:cNvPr>
              <p:cNvSpPr/>
              <p:nvPr/>
            </p:nvSpPr>
            <p:spPr>
              <a:xfrm>
                <a:off x="11382998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8" name="Google Shape;1021;p142">
                <a:extLst>
                  <a:ext uri="{FF2B5EF4-FFF2-40B4-BE49-F238E27FC236}">
                    <a16:creationId xmlns:a16="http://schemas.microsoft.com/office/drawing/2014/main" id="{A562B123-EEFF-E0F1-1619-567E4ED3AEAA}"/>
                  </a:ext>
                </a:extLst>
              </p:cNvPr>
              <p:cNvSpPr/>
              <p:nvPr/>
            </p:nvSpPr>
            <p:spPr>
              <a:xfrm>
                <a:off x="11382286" y="2748979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39" name="Google Shape;1022;p142">
                <a:extLst>
                  <a:ext uri="{FF2B5EF4-FFF2-40B4-BE49-F238E27FC236}">
                    <a16:creationId xmlns:a16="http://schemas.microsoft.com/office/drawing/2014/main" id="{D81C80E7-7FDA-D179-7633-5F9CB112B767}"/>
                  </a:ext>
                </a:extLst>
              </p:cNvPr>
              <p:cNvSpPr/>
              <p:nvPr/>
            </p:nvSpPr>
            <p:spPr>
              <a:xfrm>
                <a:off x="1138228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0" name="Google Shape;1023;p142">
                <a:extLst>
                  <a:ext uri="{FF2B5EF4-FFF2-40B4-BE49-F238E27FC236}">
                    <a16:creationId xmlns:a16="http://schemas.microsoft.com/office/drawing/2014/main" id="{57C77CC8-0683-C7DB-B381-E171CEFD4670}"/>
                  </a:ext>
                </a:extLst>
              </p:cNvPr>
              <p:cNvSpPr/>
              <p:nvPr/>
            </p:nvSpPr>
            <p:spPr>
              <a:xfrm>
                <a:off x="1138228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1" name="Google Shape;1024;p142">
                <a:extLst>
                  <a:ext uri="{FF2B5EF4-FFF2-40B4-BE49-F238E27FC236}">
                    <a16:creationId xmlns:a16="http://schemas.microsoft.com/office/drawing/2014/main" id="{9C1AABE7-2390-A7E2-1889-73FC4BB5AE08}"/>
                  </a:ext>
                </a:extLst>
              </p:cNvPr>
              <p:cNvSpPr/>
              <p:nvPr/>
            </p:nvSpPr>
            <p:spPr>
              <a:xfrm>
                <a:off x="11381563" y="2748979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2" name="Google Shape;1025;p142">
                <a:extLst>
                  <a:ext uri="{FF2B5EF4-FFF2-40B4-BE49-F238E27FC236}">
                    <a16:creationId xmlns:a16="http://schemas.microsoft.com/office/drawing/2014/main" id="{0DB77083-8C4C-482D-0767-1C8691C29EAB}"/>
                  </a:ext>
                </a:extLst>
              </p:cNvPr>
              <p:cNvSpPr/>
              <p:nvPr/>
            </p:nvSpPr>
            <p:spPr>
              <a:xfrm>
                <a:off x="11381563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3" name="Google Shape;1026;p142">
                <a:extLst>
                  <a:ext uri="{FF2B5EF4-FFF2-40B4-BE49-F238E27FC236}">
                    <a16:creationId xmlns:a16="http://schemas.microsoft.com/office/drawing/2014/main" id="{B38982E3-D89D-D0BC-829C-79E28DA2D803}"/>
                  </a:ext>
                </a:extLst>
              </p:cNvPr>
              <p:cNvSpPr/>
              <p:nvPr/>
            </p:nvSpPr>
            <p:spPr>
              <a:xfrm>
                <a:off x="11381563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4" name="Google Shape;1027;p142">
                <a:extLst>
                  <a:ext uri="{FF2B5EF4-FFF2-40B4-BE49-F238E27FC236}">
                    <a16:creationId xmlns:a16="http://schemas.microsoft.com/office/drawing/2014/main" id="{39A2FE62-71EA-FF21-14CA-7FB37846F11E}"/>
                  </a:ext>
                </a:extLst>
              </p:cNvPr>
              <p:cNvSpPr/>
              <p:nvPr/>
            </p:nvSpPr>
            <p:spPr>
              <a:xfrm>
                <a:off x="11381563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5" name="Google Shape;1028;p142">
                <a:extLst>
                  <a:ext uri="{FF2B5EF4-FFF2-40B4-BE49-F238E27FC236}">
                    <a16:creationId xmlns:a16="http://schemas.microsoft.com/office/drawing/2014/main" id="{A18D5927-BAA4-BB88-6AFE-19F5B707A765}"/>
                  </a:ext>
                </a:extLst>
              </p:cNvPr>
              <p:cNvSpPr/>
              <p:nvPr/>
            </p:nvSpPr>
            <p:spPr>
              <a:xfrm>
                <a:off x="11380839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6" name="Google Shape;1029;p142">
                <a:extLst>
                  <a:ext uri="{FF2B5EF4-FFF2-40B4-BE49-F238E27FC236}">
                    <a16:creationId xmlns:a16="http://schemas.microsoft.com/office/drawing/2014/main" id="{19C9BADC-C887-176A-7319-9EEB7BE40FD9}"/>
                  </a:ext>
                </a:extLst>
              </p:cNvPr>
              <p:cNvSpPr/>
              <p:nvPr/>
            </p:nvSpPr>
            <p:spPr>
              <a:xfrm>
                <a:off x="11380839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7" name="Google Shape;1030;p142">
                <a:extLst>
                  <a:ext uri="{FF2B5EF4-FFF2-40B4-BE49-F238E27FC236}">
                    <a16:creationId xmlns:a16="http://schemas.microsoft.com/office/drawing/2014/main" id="{8005F449-6104-6807-45D8-D2E097E7B4E1}"/>
                  </a:ext>
                </a:extLst>
              </p:cNvPr>
              <p:cNvSpPr/>
              <p:nvPr/>
            </p:nvSpPr>
            <p:spPr>
              <a:xfrm>
                <a:off x="11380839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8" name="Google Shape;1031;p142">
                <a:extLst>
                  <a:ext uri="{FF2B5EF4-FFF2-40B4-BE49-F238E27FC236}">
                    <a16:creationId xmlns:a16="http://schemas.microsoft.com/office/drawing/2014/main" id="{B7280B3E-D77D-6161-51E2-1451BE1A09E8}"/>
                  </a:ext>
                </a:extLst>
              </p:cNvPr>
              <p:cNvSpPr/>
              <p:nvPr/>
            </p:nvSpPr>
            <p:spPr>
              <a:xfrm>
                <a:off x="1138011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9" name="Google Shape;1032;p142">
                <a:extLst>
                  <a:ext uri="{FF2B5EF4-FFF2-40B4-BE49-F238E27FC236}">
                    <a16:creationId xmlns:a16="http://schemas.microsoft.com/office/drawing/2014/main" id="{88A0059E-F9BA-EF08-0C88-FAF9D9B44783}"/>
                  </a:ext>
                </a:extLst>
              </p:cNvPr>
              <p:cNvSpPr/>
              <p:nvPr/>
            </p:nvSpPr>
            <p:spPr>
              <a:xfrm>
                <a:off x="1138011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50" name="Google Shape;1033;p142">
                <a:extLst>
                  <a:ext uri="{FF2B5EF4-FFF2-40B4-BE49-F238E27FC236}">
                    <a16:creationId xmlns:a16="http://schemas.microsoft.com/office/drawing/2014/main" id="{3DA6CBAF-1E6F-1824-04A9-DE6ED20483F0}"/>
                  </a:ext>
                </a:extLst>
              </p:cNvPr>
              <p:cNvSpPr/>
              <p:nvPr/>
            </p:nvSpPr>
            <p:spPr>
              <a:xfrm>
                <a:off x="1138011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51" name="Google Shape;1034;p142">
                <a:extLst>
                  <a:ext uri="{FF2B5EF4-FFF2-40B4-BE49-F238E27FC236}">
                    <a16:creationId xmlns:a16="http://schemas.microsoft.com/office/drawing/2014/main" id="{933C4225-27D4-94CB-52D0-5C5BCCF5DBB9}"/>
                  </a:ext>
                </a:extLst>
              </p:cNvPr>
              <p:cNvSpPr/>
              <p:nvPr/>
            </p:nvSpPr>
            <p:spPr>
              <a:xfrm>
                <a:off x="11379392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8" name="Google Shape;1035;p142">
              <a:extLst>
                <a:ext uri="{FF2B5EF4-FFF2-40B4-BE49-F238E27FC236}">
                  <a16:creationId xmlns:a16="http://schemas.microsoft.com/office/drawing/2014/main" id="{20AC8D0C-4D7D-E53C-B9E9-7A47903414E4}"/>
                </a:ext>
              </a:extLst>
            </p:cNvPr>
            <p:cNvGrpSpPr/>
            <p:nvPr/>
          </p:nvGrpSpPr>
          <p:grpSpPr>
            <a:xfrm>
              <a:off x="2829983" y="5634587"/>
              <a:ext cx="1076156" cy="1468634"/>
              <a:chOff x="11615655" y="2241529"/>
              <a:chExt cx="642443" cy="876639"/>
            </a:xfrm>
          </p:grpSpPr>
          <p:sp>
            <p:nvSpPr>
              <p:cNvPr id="1025" name="Google Shape;1036;p142">
                <a:extLst>
                  <a:ext uri="{FF2B5EF4-FFF2-40B4-BE49-F238E27FC236}">
                    <a16:creationId xmlns:a16="http://schemas.microsoft.com/office/drawing/2014/main" id="{3B2365D7-9EDA-B1B0-A454-FE4E065423B6}"/>
                  </a:ext>
                </a:extLst>
              </p:cNvPr>
              <p:cNvSpPr/>
              <p:nvPr/>
            </p:nvSpPr>
            <p:spPr>
              <a:xfrm>
                <a:off x="11875162" y="2862871"/>
                <a:ext cx="90135" cy="255297"/>
              </a:xfrm>
              <a:custGeom>
                <a:avLst/>
                <a:gdLst/>
                <a:ahLst/>
                <a:cxnLst/>
                <a:rect l="l" t="t" r="r" b="b"/>
                <a:pathLst>
                  <a:path w="7722" h="21867" extrusionOk="0">
                    <a:moveTo>
                      <a:pt x="989" y="0"/>
                    </a:moveTo>
                    <a:lnTo>
                      <a:pt x="0" y="21867"/>
                    </a:lnTo>
                    <a:lnTo>
                      <a:pt x="7722" y="21867"/>
                    </a:lnTo>
                    <a:lnTo>
                      <a:pt x="6733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6" name="Google Shape;1037;p142">
                <a:extLst>
                  <a:ext uri="{FF2B5EF4-FFF2-40B4-BE49-F238E27FC236}">
                    <a16:creationId xmlns:a16="http://schemas.microsoft.com/office/drawing/2014/main" id="{19183688-8315-4ED9-D632-8D6D05FCFA7C}"/>
                  </a:ext>
                </a:extLst>
              </p:cNvPr>
              <p:cNvSpPr/>
              <p:nvPr/>
            </p:nvSpPr>
            <p:spPr>
              <a:xfrm>
                <a:off x="11924897" y="2766997"/>
                <a:ext cx="95189" cy="95933"/>
              </a:xfrm>
              <a:custGeom>
                <a:avLst/>
                <a:gdLst/>
                <a:ahLst/>
                <a:cxnLst/>
                <a:rect l="l" t="t" r="r" b="b"/>
                <a:pathLst>
                  <a:path w="8155" h="8217" extrusionOk="0">
                    <a:moveTo>
                      <a:pt x="8154" y="1"/>
                    </a:moveTo>
                    <a:lnTo>
                      <a:pt x="7598" y="124"/>
                    </a:lnTo>
                    <a:lnTo>
                      <a:pt x="7042" y="248"/>
                    </a:lnTo>
                    <a:lnTo>
                      <a:pt x="6548" y="433"/>
                    </a:lnTo>
                    <a:lnTo>
                      <a:pt x="6054" y="618"/>
                    </a:lnTo>
                    <a:lnTo>
                      <a:pt x="5189" y="1112"/>
                    </a:lnTo>
                    <a:lnTo>
                      <a:pt x="4324" y="1668"/>
                    </a:lnTo>
                    <a:lnTo>
                      <a:pt x="3583" y="2286"/>
                    </a:lnTo>
                    <a:lnTo>
                      <a:pt x="2904" y="2966"/>
                    </a:lnTo>
                    <a:lnTo>
                      <a:pt x="2348" y="3707"/>
                    </a:lnTo>
                    <a:lnTo>
                      <a:pt x="1792" y="4448"/>
                    </a:lnTo>
                    <a:lnTo>
                      <a:pt x="1359" y="5128"/>
                    </a:lnTo>
                    <a:lnTo>
                      <a:pt x="989" y="5869"/>
                    </a:lnTo>
                    <a:lnTo>
                      <a:pt x="433" y="7042"/>
                    </a:lnTo>
                    <a:lnTo>
                      <a:pt x="124" y="7907"/>
                    </a:lnTo>
                    <a:lnTo>
                      <a:pt x="0" y="8216"/>
                    </a:lnTo>
                    <a:lnTo>
                      <a:pt x="2471" y="8216"/>
                    </a:lnTo>
                    <a:lnTo>
                      <a:pt x="2533" y="7351"/>
                    </a:lnTo>
                    <a:lnTo>
                      <a:pt x="2718" y="6486"/>
                    </a:lnTo>
                    <a:lnTo>
                      <a:pt x="3027" y="5683"/>
                    </a:lnTo>
                    <a:lnTo>
                      <a:pt x="3398" y="4880"/>
                    </a:lnTo>
                    <a:lnTo>
                      <a:pt x="3830" y="4139"/>
                    </a:lnTo>
                    <a:lnTo>
                      <a:pt x="4263" y="3522"/>
                    </a:lnTo>
                    <a:lnTo>
                      <a:pt x="4819" y="2842"/>
                    </a:lnTo>
                    <a:lnTo>
                      <a:pt x="5313" y="2286"/>
                    </a:lnTo>
                    <a:lnTo>
                      <a:pt x="6363" y="1360"/>
                    </a:lnTo>
                    <a:lnTo>
                      <a:pt x="7289" y="618"/>
                    </a:lnTo>
                    <a:lnTo>
                      <a:pt x="7907" y="186"/>
                    </a:lnTo>
                    <a:lnTo>
                      <a:pt x="8154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7" name="Google Shape;1038;p142">
                <a:extLst>
                  <a:ext uri="{FF2B5EF4-FFF2-40B4-BE49-F238E27FC236}">
                    <a16:creationId xmlns:a16="http://schemas.microsoft.com/office/drawing/2014/main" id="{3245C123-47F8-2D7E-0C96-6D66B5F87430}"/>
                  </a:ext>
                </a:extLst>
              </p:cNvPr>
              <p:cNvSpPr/>
              <p:nvPr/>
            </p:nvSpPr>
            <p:spPr>
              <a:xfrm>
                <a:off x="11924897" y="2766997"/>
                <a:ext cx="95189" cy="95933"/>
              </a:xfrm>
              <a:custGeom>
                <a:avLst/>
                <a:gdLst/>
                <a:ahLst/>
                <a:cxnLst/>
                <a:rect l="l" t="t" r="r" b="b"/>
                <a:pathLst>
                  <a:path w="8155" h="8217" fill="none" extrusionOk="0">
                    <a:moveTo>
                      <a:pt x="0" y="8216"/>
                    </a:moveTo>
                    <a:lnTo>
                      <a:pt x="2471" y="8216"/>
                    </a:lnTo>
                    <a:lnTo>
                      <a:pt x="2471" y="8216"/>
                    </a:lnTo>
                    <a:lnTo>
                      <a:pt x="2533" y="7351"/>
                    </a:lnTo>
                    <a:lnTo>
                      <a:pt x="2718" y="6486"/>
                    </a:lnTo>
                    <a:lnTo>
                      <a:pt x="3027" y="5683"/>
                    </a:lnTo>
                    <a:lnTo>
                      <a:pt x="3398" y="4880"/>
                    </a:lnTo>
                    <a:lnTo>
                      <a:pt x="3830" y="4139"/>
                    </a:lnTo>
                    <a:lnTo>
                      <a:pt x="4263" y="3522"/>
                    </a:lnTo>
                    <a:lnTo>
                      <a:pt x="4819" y="2842"/>
                    </a:lnTo>
                    <a:lnTo>
                      <a:pt x="5313" y="2286"/>
                    </a:lnTo>
                    <a:lnTo>
                      <a:pt x="6363" y="1360"/>
                    </a:lnTo>
                    <a:lnTo>
                      <a:pt x="7289" y="618"/>
                    </a:lnTo>
                    <a:lnTo>
                      <a:pt x="7907" y="186"/>
                    </a:lnTo>
                    <a:lnTo>
                      <a:pt x="8154" y="1"/>
                    </a:lnTo>
                    <a:lnTo>
                      <a:pt x="8154" y="1"/>
                    </a:lnTo>
                    <a:lnTo>
                      <a:pt x="7598" y="124"/>
                    </a:lnTo>
                    <a:lnTo>
                      <a:pt x="7042" y="248"/>
                    </a:lnTo>
                    <a:lnTo>
                      <a:pt x="6548" y="433"/>
                    </a:lnTo>
                    <a:lnTo>
                      <a:pt x="6054" y="618"/>
                    </a:lnTo>
                    <a:lnTo>
                      <a:pt x="5189" y="1112"/>
                    </a:lnTo>
                    <a:lnTo>
                      <a:pt x="4324" y="1668"/>
                    </a:lnTo>
                    <a:lnTo>
                      <a:pt x="3583" y="2286"/>
                    </a:lnTo>
                    <a:lnTo>
                      <a:pt x="2904" y="2966"/>
                    </a:lnTo>
                    <a:lnTo>
                      <a:pt x="2348" y="3707"/>
                    </a:lnTo>
                    <a:lnTo>
                      <a:pt x="1792" y="4448"/>
                    </a:lnTo>
                    <a:lnTo>
                      <a:pt x="1359" y="5128"/>
                    </a:lnTo>
                    <a:lnTo>
                      <a:pt x="989" y="5869"/>
                    </a:lnTo>
                    <a:lnTo>
                      <a:pt x="433" y="7042"/>
                    </a:lnTo>
                    <a:lnTo>
                      <a:pt x="124" y="7907"/>
                    </a:lnTo>
                    <a:lnTo>
                      <a:pt x="0" y="8216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8" name="Google Shape;1039;p142">
                <a:extLst>
                  <a:ext uri="{FF2B5EF4-FFF2-40B4-BE49-F238E27FC236}">
                    <a16:creationId xmlns:a16="http://schemas.microsoft.com/office/drawing/2014/main" id="{44AE792A-3524-8457-AC3E-7305B64F3E6A}"/>
                  </a:ext>
                </a:extLst>
              </p:cNvPr>
              <p:cNvSpPr/>
              <p:nvPr/>
            </p:nvSpPr>
            <p:spPr>
              <a:xfrm>
                <a:off x="11896062" y="2772761"/>
                <a:ext cx="42558" cy="93050"/>
              </a:xfrm>
              <a:custGeom>
                <a:avLst/>
                <a:gdLst/>
                <a:ahLst/>
                <a:cxnLst/>
                <a:rect l="l" t="t" r="r" b="b"/>
                <a:pathLst>
                  <a:path w="3646" h="7970" extrusionOk="0">
                    <a:moveTo>
                      <a:pt x="3645" y="1"/>
                    </a:moveTo>
                    <a:lnTo>
                      <a:pt x="3213" y="124"/>
                    </a:lnTo>
                    <a:lnTo>
                      <a:pt x="2719" y="310"/>
                    </a:lnTo>
                    <a:lnTo>
                      <a:pt x="2163" y="618"/>
                    </a:lnTo>
                    <a:lnTo>
                      <a:pt x="1545" y="1113"/>
                    </a:lnTo>
                    <a:lnTo>
                      <a:pt x="1236" y="1421"/>
                    </a:lnTo>
                    <a:lnTo>
                      <a:pt x="927" y="1792"/>
                    </a:lnTo>
                    <a:lnTo>
                      <a:pt x="618" y="2163"/>
                    </a:lnTo>
                    <a:lnTo>
                      <a:pt x="371" y="2657"/>
                    </a:lnTo>
                    <a:lnTo>
                      <a:pt x="186" y="3213"/>
                    </a:lnTo>
                    <a:lnTo>
                      <a:pt x="1" y="3831"/>
                    </a:lnTo>
                    <a:lnTo>
                      <a:pt x="557" y="7969"/>
                    </a:lnTo>
                    <a:lnTo>
                      <a:pt x="1977" y="6548"/>
                    </a:lnTo>
                    <a:lnTo>
                      <a:pt x="1792" y="5807"/>
                    </a:lnTo>
                    <a:lnTo>
                      <a:pt x="1668" y="5004"/>
                    </a:lnTo>
                    <a:lnTo>
                      <a:pt x="1668" y="4016"/>
                    </a:lnTo>
                    <a:lnTo>
                      <a:pt x="1668" y="3460"/>
                    </a:lnTo>
                    <a:lnTo>
                      <a:pt x="1730" y="2904"/>
                    </a:lnTo>
                    <a:lnTo>
                      <a:pt x="1916" y="2410"/>
                    </a:lnTo>
                    <a:lnTo>
                      <a:pt x="2101" y="1854"/>
                    </a:lnTo>
                    <a:lnTo>
                      <a:pt x="2348" y="1298"/>
                    </a:lnTo>
                    <a:lnTo>
                      <a:pt x="2719" y="866"/>
                    </a:lnTo>
                    <a:lnTo>
                      <a:pt x="3151" y="371"/>
                    </a:lnTo>
                    <a:lnTo>
                      <a:pt x="3645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9" name="Google Shape;1040;p142">
                <a:extLst>
                  <a:ext uri="{FF2B5EF4-FFF2-40B4-BE49-F238E27FC236}">
                    <a16:creationId xmlns:a16="http://schemas.microsoft.com/office/drawing/2014/main" id="{A8DF5040-C016-EFF6-F6D5-3DA706F64B0D}"/>
                  </a:ext>
                </a:extLst>
              </p:cNvPr>
              <p:cNvSpPr/>
              <p:nvPr/>
            </p:nvSpPr>
            <p:spPr>
              <a:xfrm>
                <a:off x="11896062" y="2772761"/>
                <a:ext cx="42558" cy="93050"/>
              </a:xfrm>
              <a:custGeom>
                <a:avLst/>
                <a:gdLst/>
                <a:ahLst/>
                <a:cxnLst/>
                <a:rect l="l" t="t" r="r" b="b"/>
                <a:pathLst>
                  <a:path w="3646" h="7970" fill="none" extrusionOk="0">
                    <a:moveTo>
                      <a:pt x="1" y="3831"/>
                    </a:moveTo>
                    <a:lnTo>
                      <a:pt x="557" y="7969"/>
                    </a:lnTo>
                    <a:lnTo>
                      <a:pt x="1977" y="6548"/>
                    </a:lnTo>
                    <a:lnTo>
                      <a:pt x="1977" y="6548"/>
                    </a:lnTo>
                    <a:lnTo>
                      <a:pt x="1792" y="5807"/>
                    </a:lnTo>
                    <a:lnTo>
                      <a:pt x="1668" y="5004"/>
                    </a:lnTo>
                    <a:lnTo>
                      <a:pt x="1668" y="4016"/>
                    </a:lnTo>
                    <a:lnTo>
                      <a:pt x="1668" y="3460"/>
                    </a:lnTo>
                    <a:lnTo>
                      <a:pt x="1730" y="2904"/>
                    </a:lnTo>
                    <a:lnTo>
                      <a:pt x="1916" y="2410"/>
                    </a:lnTo>
                    <a:lnTo>
                      <a:pt x="2101" y="1854"/>
                    </a:lnTo>
                    <a:lnTo>
                      <a:pt x="2348" y="1298"/>
                    </a:lnTo>
                    <a:lnTo>
                      <a:pt x="2719" y="866"/>
                    </a:lnTo>
                    <a:lnTo>
                      <a:pt x="3151" y="371"/>
                    </a:lnTo>
                    <a:lnTo>
                      <a:pt x="3645" y="1"/>
                    </a:lnTo>
                    <a:lnTo>
                      <a:pt x="3645" y="1"/>
                    </a:lnTo>
                    <a:lnTo>
                      <a:pt x="3213" y="124"/>
                    </a:lnTo>
                    <a:lnTo>
                      <a:pt x="2719" y="310"/>
                    </a:lnTo>
                    <a:lnTo>
                      <a:pt x="2163" y="618"/>
                    </a:lnTo>
                    <a:lnTo>
                      <a:pt x="1545" y="1113"/>
                    </a:lnTo>
                    <a:lnTo>
                      <a:pt x="1236" y="1421"/>
                    </a:lnTo>
                    <a:lnTo>
                      <a:pt x="927" y="1792"/>
                    </a:lnTo>
                    <a:lnTo>
                      <a:pt x="618" y="2163"/>
                    </a:lnTo>
                    <a:lnTo>
                      <a:pt x="371" y="2657"/>
                    </a:lnTo>
                    <a:lnTo>
                      <a:pt x="186" y="3213"/>
                    </a:lnTo>
                    <a:lnTo>
                      <a:pt x="1" y="383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0" name="Google Shape;1041;p142">
                <a:extLst>
                  <a:ext uri="{FF2B5EF4-FFF2-40B4-BE49-F238E27FC236}">
                    <a16:creationId xmlns:a16="http://schemas.microsoft.com/office/drawing/2014/main" id="{E439D9DD-DC00-88C8-50C1-3CFB806F33FE}"/>
                  </a:ext>
                </a:extLst>
              </p:cNvPr>
              <p:cNvSpPr/>
              <p:nvPr/>
            </p:nvSpPr>
            <p:spPr>
              <a:xfrm>
                <a:off x="11896062" y="2832590"/>
                <a:ext cx="45441" cy="56262"/>
              </a:xfrm>
              <a:custGeom>
                <a:avLst/>
                <a:gdLst/>
                <a:ahLst/>
                <a:cxnLst/>
                <a:rect l="l" t="t" r="r" b="b"/>
                <a:pathLst>
                  <a:path w="3893" h="4819" extrusionOk="0">
                    <a:moveTo>
                      <a:pt x="1668" y="1"/>
                    </a:moveTo>
                    <a:lnTo>
                      <a:pt x="1" y="4819"/>
                    </a:lnTo>
                    <a:lnTo>
                      <a:pt x="3892" y="4819"/>
                    </a:lnTo>
                    <a:lnTo>
                      <a:pt x="3830" y="4016"/>
                    </a:lnTo>
                    <a:lnTo>
                      <a:pt x="3769" y="2348"/>
                    </a:lnTo>
                    <a:lnTo>
                      <a:pt x="3645" y="1"/>
                    </a:lnTo>
                    <a:lnTo>
                      <a:pt x="3522" y="248"/>
                    </a:lnTo>
                    <a:lnTo>
                      <a:pt x="3336" y="433"/>
                    </a:lnTo>
                    <a:lnTo>
                      <a:pt x="3089" y="680"/>
                    </a:lnTo>
                    <a:lnTo>
                      <a:pt x="2780" y="804"/>
                    </a:lnTo>
                    <a:lnTo>
                      <a:pt x="2657" y="804"/>
                    </a:lnTo>
                    <a:lnTo>
                      <a:pt x="2471" y="742"/>
                    </a:lnTo>
                    <a:lnTo>
                      <a:pt x="2286" y="680"/>
                    </a:lnTo>
                    <a:lnTo>
                      <a:pt x="2101" y="495"/>
                    </a:lnTo>
                    <a:lnTo>
                      <a:pt x="1916" y="310"/>
                    </a:lnTo>
                    <a:lnTo>
                      <a:pt x="1668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1" name="Google Shape;1042;p142">
                <a:extLst>
                  <a:ext uri="{FF2B5EF4-FFF2-40B4-BE49-F238E27FC236}">
                    <a16:creationId xmlns:a16="http://schemas.microsoft.com/office/drawing/2014/main" id="{8F5E3AAE-10B2-C273-5FB6-A90DDDF2AF7D}"/>
                  </a:ext>
                </a:extLst>
              </p:cNvPr>
              <p:cNvSpPr/>
              <p:nvPr/>
            </p:nvSpPr>
            <p:spPr>
              <a:xfrm>
                <a:off x="11938597" y="2740332"/>
                <a:ext cx="32450" cy="77172"/>
              </a:xfrm>
              <a:custGeom>
                <a:avLst/>
                <a:gdLst/>
                <a:ahLst/>
                <a:cxnLst/>
                <a:rect l="l" t="t" r="r" b="b"/>
                <a:pathLst>
                  <a:path w="2780" h="6610" extrusionOk="0">
                    <a:moveTo>
                      <a:pt x="0" y="0"/>
                    </a:moveTo>
                    <a:lnTo>
                      <a:pt x="618" y="494"/>
                    </a:lnTo>
                    <a:lnTo>
                      <a:pt x="1112" y="988"/>
                    </a:lnTo>
                    <a:lnTo>
                      <a:pt x="1483" y="1544"/>
                    </a:lnTo>
                    <a:lnTo>
                      <a:pt x="1668" y="2100"/>
                    </a:lnTo>
                    <a:lnTo>
                      <a:pt x="1853" y="2656"/>
                    </a:lnTo>
                    <a:lnTo>
                      <a:pt x="1915" y="3212"/>
                    </a:lnTo>
                    <a:lnTo>
                      <a:pt x="1915" y="3768"/>
                    </a:lnTo>
                    <a:lnTo>
                      <a:pt x="1853" y="4262"/>
                    </a:lnTo>
                    <a:lnTo>
                      <a:pt x="1730" y="4756"/>
                    </a:lnTo>
                    <a:lnTo>
                      <a:pt x="1606" y="5189"/>
                    </a:lnTo>
                    <a:lnTo>
                      <a:pt x="1236" y="5930"/>
                    </a:lnTo>
                    <a:lnTo>
                      <a:pt x="988" y="6424"/>
                    </a:lnTo>
                    <a:lnTo>
                      <a:pt x="865" y="6610"/>
                    </a:lnTo>
                    <a:lnTo>
                      <a:pt x="2780" y="4695"/>
                    </a:lnTo>
                    <a:lnTo>
                      <a:pt x="2780" y="4015"/>
                    </a:lnTo>
                    <a:lnTo>
                      <a:pt x="2718" y="3397"/>
                    </a:lnTo>
                    <a:lnTo>
                      <a:pt x="2594" y="2842"/>
                    </a:lnTo>
                    <a:lnTo>
                      <a:pt x="2471" y="2347"/>
                    </a:lnTo>
                    <a:lnTo>
                      <a:pt x="2286" y="1915"/>
                    </a:lnTo>
                    <a:lnTo>
                      <a:pt x="2039" y="1483"/>
                    </a:lnTo>
                    <a:lnTo>
                      <a:pt x="1791" y="1174"/>
                    </a:lnTo>
                    <a:lnTo>
                      <a:pt x="1483" y="865"/>
                    </a:lnTo>
                    <a:lnTo>
                      <a:pt x="988" y="433"/>
                    </a:lnTo>
                    <a:lnTo>
                      <a:pt x="494" y="18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2" name="Google Shape;1043;p142">
                <a:extLst>
                  <a:ext uri="{FF2B5EF4-FFF2-40B4-BE49-F238E27FC236}">
                    <a16:creationId xmlns:a16="http://schemas.microsoft.com/office/drawing/2014/main" id="{3E2BDA7E-C6DA-8E45-09E8-15A2715B71EC}"/>
                  </a:ext>
                </a:extLst>
              </p:cNvPr>
              <p:cNvSpPr/>
              <p:nvPr/>
            </p:nvSpPr>
            <p:spPr>
              <a:xfrm>
                <a:off x="11938597" y="2740332"/>
                <a:ext cx="32450" cy="77172"/>
              </a:xfrm>
              <a:custGeom>
                <a:avLst/>
                <a:gdLst/>
                <a:ahLst/>
                <a:cxnLst/>
                <a:rect l="l" t="t" r="r" b="b"/>
                <a:pathLst>
                  <a:path w="2780" h="6610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18" y="494"/>
                    </a:lnTo>
                    <a:lnTo>
                      <a:pt x="1112" y="988"/>
                    </a:lnTo>
                    <a:lnTo>
                      <a:pt x="1483" y="1544"/>
                    </a:lnTo>
                    <a:lnTo>
                      <a:pt x="1668" y="2100"/>
                    </a:lnTo>
                    <a:lnTo>
                      <a:pt x="1853" y="2656"/>
                    </a:lnTo>
                    <a:lnTo>
                      <a:pt x="1915" y="3212"/>
                    </a:lnTo>
                    <a:lnTo>
                      <a:pt x="1915" y="3768"/>
                    </a:lnTo>
                    <a:lnTo>
                      <a:pt x="1853" y="4262"/>
                    </a:lnTo>
                    <a:lnTo>
                      <a:pt x="1730" y="4756"/>
                    </a:lnTo>
                    <a:lnTo>
                      <a:pt x="1606" y="5189"/>
                    </a:lnTo>
                    <a:lnTo>
                      <a:pt x="1236" y="5930"/>
                    </a:lnTo>
                    <a:lnTo>
                      <a:pt x="988" y="6424"/>
                    </a:lnTo>
                    <a:lnTo>
                      <a:pt x="865" y="6610"/>
                    </a:lnTo>
                    <a:lnTo>
                      <a:pt x="2780" y="4695"/>
                    </a:lnTo>
                    <a:lnTo>
                      <a:pt x="2780" y="4695"/>
                    </a:lnTo>
                    <a:lnTo>
                      <a:pt x="2780" y="4015"/>
                    </a:lnTo>
                    <a:lnTo>
                      <a:pt x="2718" y="3397"/>
                    </a:lnTo>
                    <a:lnTo>
                      <a:pt x="2594" y="2842"/>
                    </a:lnTo>
                    <a:lnTo>
                      <a:pt x="2471" y="2347"/>
                    </a:lnTo>
                    <a:lnTo>
                      <a:pt x="2286" y="1915"/>
                    </a:lnTo>
                    <a:lnTo>
                      <a:pt x="2039" y="1483"/>
                    </a:lnTo>
                    <a:lnTo>
                      <a:pt x="1791" y="1174"/>
                    </a:lnTo>
                    <a:lnTo>
                      <a:pt x="1483" y="865"/>
                    </a:lnTo>
                    <a:lnTo>
                      <a:pt x="988" y="433"/>
                    </a:lnTo>
                    <a:lnTo>
                      <a:pt x="494" y="18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3" name="Google Shape;1044;p142">
                <a:extLst>
                  <a:ext uri="{FF2B5EF4-FFF2-40B4-BE49-F238E27FC236}">
                    <a16:creationId xmlns:a16="http://schemas.microsoft.com/office/drawing/2014/main" id="{166FC679-DA72-9B2A-922E-0D67D23A56CC}"/>
                  </a:ext>
                </a:extLst>
              </p:cNvPr>
              <p:cNvSpPr/>
              <p:nvPr/>
            </p:nvSpPr>
            <p:spPr>
              <a:xfrm>
                <a:off x="11815332" y="2756191"/>
                <a:ext cx="98784" cy="109628"/>
              </a:xfrm>
              <a:custGeom>
                <a:avLst/>
                <a:gdLst/>
                <a:ahLst/>
                <a:cxnLst/>
                <a:rect l="l" t="t" r="r" b="b"/>
                <a:pathLst>
                  <a:path w="8463" h="9390" extrusionOk="0">
                    <a:moveTo>
                      <a:pt x="0" y="0"/>
                    </a:moveTo>
                    <a:lnTo>
                      <a:pt x="1112" y="680"/>
                    </a:lnTo>
                    <a:lnTo>
                      <a:pt x="2039" y="1359"/>
                    </a:lnTo>
                    <a:lnTo>
                      <a:pt x="2904" y="2100"/>
                    </a:lnTo>
                    <a:lnTo>
                      <a:pt x="3583" y="2841"/>
                    </a:lnTo>
                    <a:lnTo>
                      <a:pt x="4201" y="3583"/>
                    </a:lnTo>
                    <a:lnTo>
                      <a:pt x="4695" y="4386"/>
                    </a:lnTo>
                    <a:lnTo>
                      <a:pt x="5066" y="5127"/>
                    </a:lnTo>
                    <a:lnTo>
                      <a:pt x="5374" y="5806"/>
                    </a:lnTo>
                    <a:lnTo>
                      <a:pt x="5621" y="6486"/>
                    </a:lnTo>
                    <a:lnTo>
                      <a:pt x="5807" y="7104"/>
                    </a:lnTo>
                    <a:lnTo>
                      <a:pt x="5992" y="8215"/>
                    </a:lnTo>
                    <a:lnTo>
                      <a:pt x="6116" y="8895"/>
                    </a:lnTo>
                    <a:lnTo>
                      <a:pt x="6116" y="9142"/>
                    </a:lnTo>
                    <a:lnTo>
                      <a:pt x="8463" y="9389"/>
                    </a:lnTo>
                    <a:lnTo>
                      <a:pt x="6919" y="5251"/>
                    </a:lnTo>
                    <a:lnTo>
                      <a:pt x="6610" y="4695"/>
                    </a:lnTo>
                    <a:lnTo>
                      <a:pt x="6177" y="4077"/>
                    </a:lnTo>
                    <a:lnTo>
                      <a:pt x="5683" y="3583"/>
                    </a:lnTo>
                    <a:lnTo>
                      <a:pt x="5189" y="3027"/>
                    </a:lnTo>
                    <a:lnTo>
                      <a:pt x="4633" y="2594"/>
                    </a:lnTo>
                    <a:lnTo>
                      <a:pt x="4077" y="2162"/>
                    </a:lnTo>
                    <a:lnTo>
                      <a:pt x="2904" y="1421"/>
                    </a:lnTo>
                    <a:lnTo>
                      <a:pt x="1792" y="803"/>
                    </a:lnTo>
                    <a:lnTo>
                      <a:pt x="865" y="3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4" name="Google Shape;1045;p142">
                <a:extLst>
                  <a:ext uri="{FF2B5EF4-FFF2-40B4-BE49-F238E27FC236}">
                    <a16:creationId xmlns:a16="http://schemas.microsoft.com/office/drawing/2014/main" id="{F3A2DBB0-9A47-F681-9D02-AD3BDCE33340}"/>
                  </a:ext>
                </a:extLst>
              </p:cNvPr>
              <p:cNvSpPr/>
              <p:nvPr/>
            </p:nvSpPr>
            <p:spPr>
              <a:xfrm>
                <a:off x="11815332" y="2756191"/>
                <a:ext cx="98784" cy="109628"/>
              </a:xfrm>
              <a:custGeom>
                <a:avLst/>
                <a:gdLst/>
                <a:ahLst/>
                <a:cxnLst/>
                <a:rect l="l" t="t" r="r" b="b"/>
                <a:pathLst>
                  <a:path w="8463" h="9390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1112" y="680"/>
                    </a:lnTo>
                    <a:lnTo>
                      <a:pt x="2039" y="1359"/>
                    </a:lnTo>
                    <a:lnTo>
                      <a:pt x="2904" y="2100"/>
                    </a:lnTo>
                    <a:lnTo>
                      <a:pt x="3583" y="2841"/>
                    </a:lnTo>
                    <a:lnTo>
                      <a:pt x="4201" y="3583"/>
                    </a:lnTo>
                    <a:lnTo>
                      <a:pt x="4695" y="4386"/>
                    </a:lnTo>
                    <a:lnTo>
                      <a:pt x="5066" y="5127"/>
                    </a:lnTo>
                    <a:lnTo>
                      <a:pt x="5374" y="5806"/>
                    </a:lnTo>
                    <a:lnTo>
                      <a:pt x="5621" y="6486"/>
                    </a:lnTo>
                    <a:lnTo>
                      <a:pt x="5807" y="7104"/>
                    </a:lnTo>
                    <a:lnTo>
                      <a:pt x="5992" y="8215"/>
                    </a:lnTo>
                    <a:lnTo>
                      <a:pt x="6116" y="8895"/>
                    </a:lnTo>
                    <a:lnTo>
                      <a:pt x="6116" y="9142"/>
                    </a:lnTo>
                    <a:lnTo>
                      <a:pt x="8463" y="9389"/>
                    </a:lnTo>
                    <a:lnTo>
                      <a:pt x="6919" y="5251"/>
                    </a:lnTo>
                    <a:lnTo>
                      <a:pt x="6919" y="5251"/>
                    </a:lnTo>
                    <a:lnTo>
                      <a:pt x="6610" y="4695"/>
                    </a:lnTo>
                    <a:lnTo>
                      <a:pt x="6177" y="4077"/>
                    </a:lnTo>
                    <a:lnTo>
                      <a:pt x="5683" y="3583"/>
                    </a:lnTo>
                    <a:lnTo>
                      <a:pt x="5189" y="3027"/>
                    </a:lnTo>
                    <a:lnTo>
                      <a:pt x="4633" y="2594"/>
                    </a:lnTo>
                    <a:lnTo>
                      <a:pt x="4077" y="2162"/>
                    </a:lnTo>
                    <a:lnTo>
                      <a:pt x="2904" y="1421"/>
                    </a:lnTo>
                    <a:lnTo>
                      <a:pt x="1792" y="803"/>
                    </a:lnTo>
                    <a:lnTo>
                      <a:pt x="865" y="37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5" name="Google Shape;1046;p142">
                <a:extLst>
                  <a:ext uri="{FF2B5EF4-FFF2-40B4-BE49-F238E27FC236}">
                    <a16:creationId xmlns:a16="http://schemas.microsoft.com/office/drawing/2014/main" id="{26427263-A538-AD9C-9D58-5F5E044E7085}"/>
                  </a:ext>
                </a:extLst>
              </p:cNvPr>
              <p:cNvSpPr/>
              <p:nvPr/>
            </p:nvSpPr>
            <p:spPr>
              <a:xfrm>
                <a:off x="11615655" y="2241529"/>
                <a:ext cx="642443" cy="563961"/>
              </a:xfrm>
              <a:custGeom>
                <a:avLst/>
                <a:gdLst/>
                <a:ahLst/>
                <a:cxnLst/>
                <a:rect l="l" t="t" r="r" b="b"/>
                <a:pathLst>
                  <a:path w="55039" h="48305" extrusionOk="0">
                    <a:moveTo>
                      <a:pt x="21065" y="0"/>
                    </a:moveTo>
                    <a:lnTo>
                      <a:pt x="20200" y="62"/>
                    </a:lnTo>
                    <a:lnTo>
                      <a:pt x="19335" y="124"/>
                    </a:lnTo>
                    <a:lnTo>
                      <a:pt x="18470" y="247"/>
                    </a:lnTo>
                    <a:lnTo>
                      <a:pt x="17606" y="371"/>
                    </a:lnTo>
                    <a:lnTo>
                      <a:pt x="16803" y="556"/>
                    </a:lnTo>
                    <a:lnTo>
                      <a:pt x="15999" y="803"/>
                    </a:lnTo>
                    <a:lnTo>
                      <a:pt x="15196" y="1050"/>
                    </a:lnTo>
                    <a:lnTo>
                      <a:pt x="14393" y="1359"/>
                    </a:lnTo>
                    <a:lnTo>
                      <a:pt x="13652" y="1730"/>
                    </a:lnTo>
                    <a:lnTo>
                      <a:pt x="12911" y="2100"/>
                    </a:lnTo>
                    <a:lnTo>
                      <a:pt x="12170" y="2471"/>
                    </a:lnTo>
                    <a:lnTo>
                      <a:pt x="11490" y="2965"/>
                    </a:lnTo>
                    <a:lnTo>
                      <a:pt x="10811" y="3398"/>
                    </a:lnTo>
                    <a:lnTo>
                      <a:pt x="10193" y="3954"/>
                    </a:lnTo>
                    <a:lnTo>
                      <a:pt x="9575" y="4448"/>
                    </a:lnTo>
                    <a:lnTo>
                      <a:pt x="8958" y="5004"/>
                    </a:lnTo>
                    <a:lnTo>
                      <a:pt x="8402" y="5621"/>
                    </a:lnTo>
                    <a:lnTo>
                      <a:pt x="7846" y="6239"/>
                    </a:lnTo>
                    <a:lnTo>
                      <a:pt x="7352" y="6857"/>
                    </a:lnTo>
                    <a:lnTo>
                      <a:pt x="6857" y="7536"/>
                    </a:lnTo>
                    <a:lnTo>
                      <a:pt x="6425" y="8216"/>
                    </a:lnTo>
                    <a:lnTo>
                      <a:pt x="5993" y="8957"/>
                    </a:lnTo>
                    <a:lnTo>
                      <a:pt x="5622" y="9698"/>
                    </a:lnTo>
                    <a:lnTo>
                      <a:pt x="5313" y="10439"/>
                    </a:lnTo>
                    <a:lnTo>
                      <a:pt x="5004" y="11242"/>
                    </a:lnTo>
                    <a:lnTo>
                      <a:pt x="4757" y="11984"/>
                    </a:lnTo>
                    <a:lnTo>
                      <a:pt x="4510" y="12848"/>
                    </a:lnTo>
                    <a:lnTo>
                      <a:pt x="4325" y="13651"/>
                    </a:lnTo>
                    <a:lnTo>
                      <a:pt x="4140" y="14516"/>
                    </a:lnTo>
                    <a:lnTo>
                      <a:pt x="4016" y="15319"/>
                    </a:lnTo>
                    <a:lnTo>
                      <a:pt x="3954" y="16184"/>
                    </a:lnTo>
                    <a:lnTo>
                      <a:pt x="3954" y="17111"/>
                    </a:lnTo>
                    <a:lnTo>
                      <a:pt x="4016" y="18470"/>
                    </a:lnTo>
                    <a:lnTo>
                      <a:pt x="4201" y="19828"/>
                    </a:lnTo>
                    <a:lnTo>
                      <a:pt x="4448" y="21187"/>
                    </a:lnTo>
                    <a:lnTo>
                      <a:pt x="4819" y="22485"/>
                    </a:lnTo>
                    <a:lnTo>
                      <a:pt x="4325" y="22855"/>
                    </a:lnTo>
                    <a:lnTo>
                      <a:pt x="3769" y="23349"/>
                    </a:lnTo>
                    <a:lnTo>
                      <a:pt x="3337" y="23782"/>
                    </a:lnTo>
                    <a:lnTo>
                      <a:pt x="2842" y="24276"/>
                    </a:lnTo>
                    <a:lnTo>
                      <a:pt x="2410" y="24832"/>
                    </a:lnTo>
                    <a:lnTo>
                      <a:pt x="2039" y="25326"/>
                    </a:lnTo>
                    <a:lnTo>
                      <a:pt x="1669" y="25944"/>
                    </a:lnTo>
                    <a:lnTo>
                      <a:pt x="1360" y="26500"/>
                    </a:lnTo>
                    <a:lnTo>
                      <a:pt x="1051" y="27117"/>
                    </a:lnTo>
                    <a:lnTo>
                      <a:pt x="804" y="27735"/>
                    </a:lnTo>
                    <a:lnTo>
                      <a:pt x="557" y="28414"/>
                    </a:lnTo>
                    <a:lnTo>
                      <a:pt x="372" y="29094"/>
                    </a:lnTo>
                    <a:lnTo>
                      <a:pt x="248" y="29773"/>
                    </a:lnTo>
                    <a:lnTo>
                      <a:pt x="124" y="30453"/>
                    </a:lnTo>
                    <a:lnTo>
                      <a:pt x="63" y="31132"/>
                    </a:lnTo>
                    <a:lnTo>
                      <a:pt x="1" y="31874"/>
                    </a:lnTo>
                    <a:lnTo>
                      <a:pt x="63" y="33047"/>
                    </a:lnTo>
                    <a:lnTo>
                      <a:pt x="248" y="34221"/>
                    </a:lnTo>
                    <a:lnTo>
                      <a:pt x="557" y="35333"/>
                    </a:lnTo>
                    <a:lnTo>
                      <a:pt x="928" y="36383"/>
                    </a:lnTo>
                    <a:lnTo>
                      <a:pt x="1422" y="37433"/>
                    </a:lnTo>
                    <a:lnTo>
                      <a:pt x="2039" y="38359"/>
                    </a:lnTo>
                    <a:lnTo>
                      <a:pt x="2719" y="39286"/>
                    </a:lnTo>
                    <a:lnTo>
                      <a:pt x="3460" y="40089"/>
                    </a:lnTo>
                    <a:lnTo>
                      <a:pt x="4263" y="40830"/>
                    </a:lnTo>
                    <a:lnTo>
                      <a:pt x="5190" y="41510"/>
                    </a:lnTo>
                    <a:lnTo>
                      <a:pt x="6116" y="42066"/>
                    </a:lnTo>
                    <a:lnTo>
                      <a:pt x="7166" y="42560"/>
                    </a:lnTo>
                    <a:lnTo>
                      <a:pt x="8216" y="42992"/>
                    </a:lnTo>
                    <a:lnTo>
                      <a:pt x="9328" y="43239"/>
                    </a:lnTo>
                    <a:lnTo>
                      <a:pt x="10502" y="43425"/>
                    </a:lnTo>
                    <a:lnTo>
                      <a:pt x="11676" y="43486"/>
                    </a:lnTo>
                    <a:lnTo>
                      <a:pt x="12726" y="43425"/>
                    </a:lnTo>
                    <a:lnTo>
                      <a:pt x="13776" y="43301"/>
                    </a:lnTo>
                    <a:lnTo>
                      <a:pt x="14826" y="43054"/>
                    </a:lnTo>
                    <a:lnTo>
                      <a:pt x="15752" y="42745"/>
                    </a:lnTo>
                    <a:lnTo>
                      <a:pt x="16185" y="43363"/>
                    </a:lnTo>
                    <a:lnTo>
                      <a:pt x="16679" y="43919"/>
                    </a:lnTo>
                    <a:lnTo>
                      <a:pt x="17173" y="44475"/>
                    </a:lnTo>
                    <a:lnTo>
                      <a:pt x="17729" y="45031"/>
                    </a:lnTo>
                    <a:lnTo>
                      <a:pt x="18285" y="45525"/>
                    </a:lnTo>
                    <a:lnTo>
                      <a:pt x="18903" y="45957"/>
                    </a:lnTo>
                    <a:lnTo>
                      <a:pt x="19520" y="46390"/>
                    </a:lnTo>
                    <a:lnTo>
                      <a:pt x="20138" y="46760"/>
                    </a:lnTo>
                    <a:lnTo>
                      <a:pt x="20818" y="47131"/>
                    </a:lnTo>
                    <a:lnTo>
                      <a:pt x="21559" y="47440"/>
                    </a:lnTo>
                    <a:lnTo>
                      <a:pt x="22238" y="47687"/>
                    </a:lnTo>
                    <a:lnTo>
                      <a:pt x="22980" y="47872"/>
                    </a:lnTo>
                    <a:lnTo>
                      <a:pt x="23783" y="48057"/>
                    </a:lnTo>
                    <a:lnTo>
                      <a:pt x="24524" y="48181"/>
                    </a:lnTo>
                    <a:lnTo>
                      <a:pt x="25327" y="48243"/>
                    </a:lnTo>
                    <a:lnTo>
                      <a:pt x="26130" y="48304"/>
                    </a:lnTo>
                    <a:lnTo>
                      <a:pt x="26933" y="48243"/>
                    </a:lnTo>
                    <a:lnTo>
                      <a:pt x="27674" y="48181"/>
                    </a:lnTo>
                    <a:lnTo>
                      <a:pt x="28415" y="48057"/>
                    </a:lnTo>
                    <a:lnTo>
                      <a:pt x="29157" y="47934"/>
                    </a:lnTo>
                    <a:lnTo>
                      <a:pt x="29898" y="47687"/>
                    </a:lnTo>
                    <a:lnTo>
                      <a:pt x="30577" y="47440"/>
                    </a:lnTo>
                    <a:lnTo>
                      <a:pt x="31257" y="47193"/>
                    </a:lnTo>
                    <a:lnTo>
                      <a:pt x="31936" y="46884"/>
                    </a:lnTo>
                    <a:lnTo>
                      <a:pt x="32554" y="46513"/>
                    </a:lnTo>
                    <a:lnTo>
                      <a:pt x="33172" y="46081"/>
                    </a:lnTo>
                    <a:lnTo>
                      <a:pt x="33789" y="45648"/>
                    </a:lnTo>
                    <a:lnTo>
                      <a:pt x="34345" y="45216"/>
                    </a:lnTo>
                    <a:lnTo>
                      <a:pt x="34839" y="44722"/>
                    </a:lnTo>
                    <a:lnTo>
                      <a:pt x="35395" y="44166"/>
                    </a:lnTo>
                    <a:lnTo>
                      <a:pt x="35828" y="43610"/>
                    </a:lnTo>
                    <a:lnTo>
                      <a:pt x="36260" y="42992"/>
                    </a:lnTo>
                    <a:lnTo>
                      <a:pt x="37496" y="43425"/>
                    </a:lnTo>
                    <a:lnTo>
                      <a:pt x="38793" y="43733"/>
                    </a:lnTo>
                    <a:lnTo>
                      <a:pt x="40090" y="43919"/>
                    </a:lnTo>
                    <a:lnTo>
                      <a:pt x="41449" y="43981"/>
                    </a:lnTo>
                    <a:lnTo>
                      <a:pt x="42870" y="43919"/>
                    </a:lnTo>
                    <a:lnTo>
                      <a:pt x="44167" y="43733"/>
                    </a:lnTo>
                    <a:lnTo>
                      <a:pt x="45464" y="43425"/>
                    </a:lnTo>
                    <a:lnTo>
                      <a:pt x="46699" y="42992"/>
                    </a:lnTo>
                    <a:lnTo>
                      <a:pt x="47935" y="42436"/>
                    </a:lnTo>
                    <a:lnTo>
                      <a:pt x="49047" y="41819"/>
                    </a:lnTo>
                    <a:lnTo>
                      <a:pt x="50097" y="41077"/>
                    </a:lnTo>
                    <a:lnTo>
                      <a:pt x="51023" y="40213"/>
                    </a:lnTo>
                    <a:lnTo>
                      <a:pt x="51888" y="39286"/>
                    </a:lnTo>
                    <a:lnTo>
                      <a:pt x="52691" y="38298"/>
                    </a:lnTo>
                    <a:lnTo>
                      <a:pt x="53371" y="37248"/>
                    </a:lnTo>
                    <a:lnTo>
                      <a:pt x="53927" y="36136"/>
                    </a:lnTo>
                    <a:lnTo>
                      <a:pt x="54421" y="34962"/>
                    </a:lnTo>
                    <a:lnTo>
                      <a:pt x="54730" y="33727"/>
                    </a:lnTo>
                    <a:lnTo>
                      <a:pt x="54915" y="32430"/>
                    </a:lnTo>
                    <a:lnTo>
                      <a:pt x="55038" y="31132"/>
                    </a:lnTo>
                    <a:lnTo>
                      <a:pt x="54977" y="30329"/>
                    </a:lnTo>
                    <a:lnTo>
                      <a:pt x="54915" y="29588"/>
                    </a:lnTo>
                    <a:lnTo>
                      <a:pt x="54791" y="28847"/>
                    </a:lnTo>
                    <a:lnTo>
                      <a:pt x="54668" y="28106"/>
                    </a:lnTo>
                    <a:lnTo>
                      <a:pt x="54421" y="27426"/>
                    </a:lnTo>
                    <a:lnTo>
                      <a:pt x="54174" y="26685"/>
                    </a:lnTo>
                    <a:lnTo>
                      <a:pt x="53927" y="26005"/>
                    </a:lnTo>
                    <a:lnTo>
                      <a:pt x="53618" y="25388"/>
                    </a:lnTo>
                    <a:lnTo>
                      <a:pt x="53247" y="24770"/>
                    </a:lnTo>
                    <a:lnTo>
                      <a:pt x="52815" y="24152"/>
                    </a:lnTo>
                    <a:lnTo>
                      <a:pt x="52382" y="23535"/>
                    </a:lnTo>
                    <a:lnTo>
                      <a:pt x="51950" y="22979"/>
                    </a:lnTo>
                    <a:lnTo>
                      <a:pt x="51456" y="22423"/>
                    </a:lnTo>
                    <a:lnTo>
                      <a:pt x="50962" y="21929"/>
                    </a:lnTo>
                    <a:lnTo>
                      <a:pt x="50406" y="21434"/>
                    </a:lnTo>
                    <a:lnTo>
                      <a:pt x="49788" y="20940"/>
                    </a:lnTo>
                    <a:lnTo>
                      <a:pt x="50035" y="20014"/>
                    </a:lnTo>
                    <a:lnTo>
                      <a:pt x="50159" y="19087"/>
                    </a:lnTo>
                    <a:lnTo>
                      <a:pt x="50282" y="18099"/>
                    </a:lnTo>
                    <a:lnTo>
                      <a:pt x="50344" y="17049"/>
                    </a:lnTo>
                    <a:lnTo>
                      <a:pt x="50282" y="16246"/>
                    </a:lnTo>
                    <a:lnTo>
                      <a:pt x="50220" y="15505"/>
                    </a:lnTo>
                    <a:lnTo>
                      <a:pt x="50159" y="14702"/>
                    </a:lnTo>
                    <a:lnTo>
                      <a:pt x="49973" y="13960"/>
                    </a:lnTo>
                    <a:lnTo>
                      <a:pt x="49850" y="13219"/>
                    </a:lnTo>
                    <a:lnTo>
                      <a:pt x="49603" y="12478"/>
                    </a:lnTo>
                    <a:lnTo>
                      <a:pt x="49356" y="11737"/>
                    </a:lnTo>
                    <a:lnTo>
                      <a:pt x="49108" y="11057"/>
                    </a:lnTo>
                    <a:lnTo>
                      <a:pt x="48429" y="9698"/>
                    </a:lnTo>
                    <a:lnTo>
                      <a:pt x="47688" y="8401"/>
                    </a:lnTo>
                    <a:lnTo>
                      <a:pt x="46761" y="7166"/>
                    </a:lnTo>
                    <a:lnTo>
                      <a:pt x="45773" y="6116"/>
                    </a:lnTo>
                    <a:lnTo>
                      <a:pt x="44661" y="5065"/>
                    </a:lnTo>
                    <a:lnTo>
                      <a:pt x="43487" y="4201"/>
                    </a:lnTo>
                    <a:lnTo>
                      <a:pt x="42190" y="3398"/>
                    </a:lnTo>
                    <a:lnTo>
                      <a:pt x="40831" y="2780"/>
                    </a:lnTo>
                    <a:lnTo>
                      <a:pt x="40090" y="2471"/>
                    </a:lnTo>
                    <a:lnTo>
                      <a:pt x="39410" y="2224"/>
                    </a:lnTo>
                    <a:lnTo>
                      <a:pt x="38669" y="2039"/>
                    </a:lnTo>
                    <a:lnTo>
                      <a:pt x="37866" y="1853"/>
                    </a:lnTo>
                    <a:lnTo>
                      <a:pt x="37125" y="1730"/>
                    </a:lnTo>
                    <a:lnTo>
                      <a:pt x="36322" y="1606"/>
                    </a:lnTo>
                    <a:lnTo>
                      <a:pt x="35581" y="1545"/>
                    </a:lnTo>
                    <a:lnTo>
                      <a:pt x="34778" y="1545"/>
                    </a:lnTo>
                    <a:lnTo>
                      <a:pt x="33419" y="1606"/>
                    </a:lnTo>
                    <a:lnTo>
                      <a:pt x="32183" y="1792"/>
                    </a:lnTo>
                    <a:lnTo>
                      <a:pt x="30948" y="2039"/>
                    </a:lnTo>
                    <a:lnTo>
                      <a:pt x="29713" y="2409"/>
                    </a:lnTo>
                    <a:lnTo>
                      <a:pt x="28724" y="1853"/>
                    </a:lnTo>
                    <a:lnTo>
                      <a:pt x="27736" y="1421"/>
                    </a:lnTo>
                    <a:lnTo>
                      <a:pt x="26686" y="989"/>
                    </a:lnTo>
                    <a:lnTo>
                      <a:pt x="25636" y="680"/>
                    </a:lnTo>
                    <a:lnTo>
                      <a:pt x="24524" y="371"/>
                    </a:lnTo>
                    <a:lnTo>
                      <a:pt x="23412" y="186"/>
                    </a:lnTo>
                    <a:lnTo>
                      <a:pt x="22238" y="62"/>
                    </a:lnTo>
                    <a:lnTo>
                      <a:pt x="21065" y="0"/>
                    </a:lnTo>
                    <a:close/>
                  </a:path>
                </a:pathLst>
              </a:custGeom>
              <a:solidFill>
                <a:srgbClr val="FEBF7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6" name="Google Shape;1047;p142">
                <a:extLst>
                  <a:ext uri="{FF2B5EF4-FFF2-40B4-BE49-F238E27FC236}">
                    <a16:creationId xmlns:a16="http://schemas.microsoft.com/office/drawing/2014/main" id="{5E31CA90-7860-AE11-827E-0AE11BBFF3AF}"/>
                  </a:ext>
                </a:extLst>
              </p:cNvPr>
              <p:cNvSpPr/>
              <p:nvPr/>
            </p:nvSpPr>
            <p:spPr>
              <a:xfrm>
                <a:off x="11615655" y="2241529"/>
                <a:ext cx="642443" cy="563961"/>
              </a:xfrm>
              <a:custGeom>
                <a:avLst/>
                <a:gdLst/>
                <a:ahLst/>
                <a:cxnLst/>
                <a:rect l="l" t="t" r="r" b="b"/>
                <a:pathLst>
                  <a:path w="55039" h="48305" fill="none" extrusionOk="0">
                    <a:moveTo>
                      <a:pt x="49788" y="20940"/>
                    </a:moveTo>
                    <a:lnTo>
                      <a:pt x="49788" y="20940"/>
                    </a:lnTo>
                    <a:lnTo>
                      <a:pt x="50035" y="20014"/>
                    </a:lnTo>
                    <a:lnTo>
                      <a:pt x="50159" y="19087"/>
                    </a:lnTo>
                    <a:lnTo>
                      <a:pt x="50282" y="18099"/>
                    </a:lnTo>
                    <a:lnTo>
                      <a:pt x="50344" y="17049"/>
                    </a:lnTo>
                    <a:lnTo>
                      <a:pt x="50344" y="17049"/>
                    </a:lnTo>
                    <a:lnTo>
                      <a:pt x="50282" y="16246"/>
                    </a:lnTo>
                    <a:lnTo>
                      <a:pt x="50220" y="15505"/>
                    </a:lnTo>
                    <a:lnTo>
                      <a:pt x="50159" y="14702"/>
                    </a:lnTo>
                    <a:lnTo>
                      <a:pt x="49973" y="13960"/>
                    </a:lnTo>
                    <a:lnTo>
                      <a:pt x="49850" y="13219"/>
                    </a:lnTo>
                    <a:lnTo>
                      <a:pt x="49603" y="12478"/>
                    </a:lnTo>
                    <a:lnTo>
                      <a:pt x="49356" y="11737"/>
                    </a:lnTo>
                    <a:lnTo>
                      <a:pt x="49108" y="11057"/>
                    </a:lnTo>
                    <a:lnTo>
                      <a:pt x="48429" y="9698"/>
                    </a:lnTo>
                    <a:lnTo>
                      <a:pt x="47688" y="8401"/>
                    </a:lnTo>
                    <a:lnTo>
                      <a:pt x="46761" y="7166"/>
                    </a:lnTo>
                    <a:lnTo>
                      <a:pt x="45773" y="6116"/>
                    </a:lnTo>
                    <a:lnTo>
                      <a:pt x="44661" y="5065"/>
                    </a:lnTo>
                    <a:lnTo>
                      <a:pt x="43487" y="4201"/>
                    </a:lnTo>
                    <a:lnTo>
                      <a:pt x="42190" y="3398"/>
                    </a:lnTo>
                    <a:lnTo>
                      <a:pt x="40831" y="2780"/>
                    </a:lnTo>
                    <a:lnTo>
                      <a:pt x="40090" y="2471"/>
                    </a:lnTo>
                    <a:lnTo>
                      <a:pt x="39410" y="2224"/>
                    </a:lnTo>
                    <a:lnTo>
                      <a:pt x="38669" y="2039"/>
                    </a:lnTo>
                    <a:lnTo>
                      <a:pt x="37866" y="1853"/>
                    </a:lnTo>
                    <a:lnTo>
                      <a:pt x="37125" y="1730"/>
                    </a:lnTo>
                    <a:lnTo>
                      <a:pt x="36322" y="1606"/>
                    </a:lnTo>
                    <a:lnTo>
                      <a:pt x="35581" y="1545"/>
                    </a:lnTo>
                    <a:lnTo>
                      <a:pt x="34778" y="1545"/>
                    </a:lnTo>
                    <a:lnTo>
                      <a:pt x="34778" y="1545"/>
                    </a:lnTo>
                    <a:lnTo>
                      <a:pt x="33419" y="1606"/>
                    </a:lnTo>
                    <a:lnTo>
                      <a:pt x="32183" y="1792"/>
                    </a:lnTo>
                    <a:lnTo>
                      <a:pt x="30948" y="2039"/>
                    </a:lnTo>
                    <a:lnTo>
                      <a:pt x="29713" y="2409"/>
                    </a:lnTo>
                    <a:lnTo>
                      <a:pt x="29713" y="2409"/>
                    </a:lnTo>
                    <a:lnTo>
                      <a:pt x="28724" y="1853"/>
                    </a:lnTo>
                    <a:lnTo>
                      <a:pt x="27736" y="1421"/>
                    </a:lnTo>
                    <a:lnTo>
                      <a:pt x="26686" y="989"/>
                    </a:lnTo>
                    <a:lnTo>
                      <a:pt x="25636" y="680"/>
                    </a:lnTo>
                    <a:lnTo>
                      <a:pt x="24524" y="371"/>
                    </a:lnTo>
                    <a:lnTo>
                      <a:pt x="23412" y="186"/>
                    </a:lnTo>
                    <a:lnTo>
                      <a:pt x="22238" y="62"/>
                    </a:lnTo>
                    <a:lnTo>
                      <a:pt x="21065" y="0"/>
                    </a:lnTo>
                    <a:lnTo>
                      <a:pt x="21065" y="0"/>
                    </a:lnTo>
                    <a:lnTo>
                      <a:pt x="20200" y="62"/>
                    </a:lnTo>
                    <a:lnTo>
                      <a:pt x="19335" y="124"/>
                    </a:lnTo>
                    <a:lnTo>
                      <a:pt x="18470" y="247"/>
                    </a:lnTo>
                    <a:lnTo>
                      <a:pt x="17606" y="371"/>
                    </a:lnTo>
                    <a:lnTo>
                      <a:pt x="16803" y="556"/>
                    </a:lnTo>
                    <a:lnTo>
                      <a:pt x="15999" y="803"/>
                    </a:lnTo>
                    <a:lnTo>
                      <a:pt x="15196" y="1050"/>
                    </a:lnTo>
                    <a:lnTo>
                      <a:pt x="14393" y="1359"/>
                    </a:lnTo>
                    <a:lnTo>
                      <a:pt x="13652" y="1730"/>
                    </a:lnTo>
                    <a:lnTo>
                      <a:pt x="12911" y="2100"/>
                    </a:lnTo>
                    <a:lnTo>
                      <a:pt x="12170" y="2471"/>
                    </a:lnTo>
                    <a:lnTo>
                      <a:pt x="11490" y="2965"/>
                    </a:lnTo>
                    <a:lnTo>
                      <a:pt x="10811" y="3398"/>
                    </a:lnTo>
                    <a:lnTo>
                      <a:pt x="10193" y="3954"/>
                    </a:lnTo>
                    <a:lnTo>
                      <a:pt x="9575" y="4448"/>
                    </a:lnTo>
                    <a:lnTo>
                      <a:pt x="8958" y="5004"/>
                    </a:lnTo>
                    <a:lnTo>
                      <a:pt x="8402" y="5621"/>
                    </a:lnTo>
                    <a:lnTo>
                      <a:pt x="7846" y="6239"/>
                    </a:lnTo>
                    <a:lnTo>
                      <a:pt x="7352" y="6857"/>
                    </a:lnTo>
                    <a:lnTo>
                      <a:pt x="6857" y="7536"/>
                    </a:lnTo>
                    <a:lnTo>
                      <a:pt x="6425" y="8216"/>
                    </a:lnTo>
                    <a:lnTo>
                      <a:pt x="5993" y="8957"/>
                    </a:lnTo>
                    <a:lnTo>
                      <a:pt x="5622" y="9698"/>
                    </a:lnTo>
                    <a:lnTo>
                      <a:pt x="5313" y="10439"/>
                    </a:lnTo>
                    <a:lnTo>
                      <a:pt x="5004" y="11242"/>
                    </a:lnTo>
                    <a:lnTo>
                      <a:pt x="4757" y="11984"/>
                    </a:lnTo>
                    <a:lnTo>
                      <a:pt x="4510" y="12848"/>
                    </a:lnTo>
                    <a:lnTo>
                      <a:pt x="4325" y="13651"/>
                    </a:lnTo>
                    <a:lnTo>
                      <a:pt x="4140" y="14516"/>
                    </a:lnTo>
                    <a:lnTo>
                      <a:pt x="4016" y="15319"/>
                    </a:lnTo>
                    <a:lnTo>
                      <a:pt x="3954" y="16184"/>
                    </a:lnTo>
                    <a:lnTo>
                      <a:pt x="3954" y="17111"/>
                    </a:lnTo>
                    <a:lnTo>
                      <a:pt x="3954" y="17111"/>
                    </a:lnTo>
                    <a:lnTo>
                      <a:pt x="4016" y="18470"/>
                    </a:lnTo>
                    <a:lnTo>
                      <a:pt x="4201" y="19828"/>
                    </a:lnTo>
                    <a:lnTo>
                      <a:pt x="4448" y="21187"/>
                    </a:lnTo>
                    <a:lnTo>
                      <a:pt x="4819" y="22485"/>
                    </a:lnTo>
                    <a:lnTo>
                      <a:pt x="4819" y="22485"/>
                    </a:lnTo>
                    <a:lnTo>
                      <a:pt x="4325" y="22855"/>
                    </a:lnTo>
                    <a:lnTo>
                      <a:pt x="3769" y="23349"/>
                    </a:lnTo>
                    <a:lnTo>
                      <a:pt x="3337" y="23782"/>
                    </a:lnTo>
                    <a:lnTo>
                      <a:pt x="2842" y="24276"/>
                    </a:lnTo>
                    <a:lnTo>
                      <a:pt x="2410" y="24832"/>
                    </a:lnTo>
                    <a:lnTo>
                      <a:pt x="2039" y="25326"/>
                    </a:lnTo>
                    <a:lnTo>
                      <a:pt x="1669" y="25944"/>
                    </a:lnTo>
                    <a:lnTo>
                      <a:pt x="1360" y="26500"/>
                    </a:lnTo>
                    <a:lnTo>
                      <a:pt x="1051" y="27117"/>
                    </a:lnTo>
                    <a:lnTo>
                      <a:pt x="804" y="27735"/>
                    </a:lnTo>
                    <a:lnTo>
                      <a:pt x="557" y="28414"/>
                    </a:lnTo>
                    <a:lnTo>
                      <a:pt x="372" y="29094"/>
                    </a:lnTo>
                    <a:lnTo>
                      <a:pt x="248" y="29773"/>
                    </a:lnTo>
                    <a:lnTo>
                      <a:pt x="124" y="30453"/>
                    </a:lnTo>
                    <a:lnTo>
                      <a:pt x="63" y="31132"/>
                    </a:lnTo>
                    <a:lnTo>
                      <a:pt x="1" y="31874"/>
                    </a:lnTo>
                    <a:lnTo>
                      <a:pt x="1" y="31874"/>
                    </a:lnTo>
                    <a:lnTo>
                      <a:pt x="63" y="33047"/>
                    </a:lnTo>
                    <a:lnTo>
                      <a:pt x="248" y="34221"/>
                    </a:lnTo>
                    <a:lnTo>
                      <a:pt x="557" y="35333"/>
                    </a:lnTo>
                    <a:lnTo>
                      <a:pt x="928" y="36383"/>
                    </a:lnTo>
                    <a:lnTo>
                      <a:pt x="1422" y="37433"/>
                    </a:lnTo>
                    <a:lnTo>
                      <a:pt x="2039" y="38359"/>
                    </a:lnTo>
                    <a:lnTo>
                      <a:pt x="2719" y="39286"/>
                    </a:lnTo>
                    <a:lnTo>
                      <a:pt x="3460" y="40089"/>
                    </a:lnTo>
                    <a:lnTo>
                      <a:pt x="4263" y="40830"/>
                    </a:lnTo>
                    <a:lnTo>
                      <a:pt x="5190" y="41510"/>
                    </a:lnTo>
                    <a:lnTo>
                      <a:pt x="6116" y="42066"/>
                    </a:lnTo>
                    <a:lnTo>
                      <a:pt x="7166" y="42560"/>
                    </a:lnTo>
                    <a:lnTo>
                      <a:pt x="8216" y="42992"/>
                    </a:lnTo>
                    <a:lnTo>
                      <a:pt x="9328" y="43239"/>
                    </a:lnTo>
                    <a:lnTo>
                      <a:pt x="10502" y="43425"/>
                    </a:lnTo>
                    <a:lnTo>
                      <a:pt x="11676" y="43486"/>
                    </a:lnTo>
                    <a:lnTo>
                      <a:pt x="11676" y="43486"/>
                    </a:lnTo>
                    <a:lnTo>
                      <a:pt x="12726" y="43425"/>
                    </a:lnTo>
                    <a:lnTo>
                      <a:pt x="13776" y="43301"/>
                    </a:lnTo>
                    <a:lnTo>
                      <a:pt x="14826" y="43054"/>
                    </a:lnTo>
                    <a:lnTo>
                      <a:pt x="15752" y="42745"/>
                    </a:lnTo>
                    <a:lnTo>
                      <a:pt x="15752" y="42745"/>
                    </a:lnTo>
                    <a:lnTo>
                      <a:pt x="16185" y="43363"/>
                    </a:lnTo>
                    <a:lnTo>
                      <a:pt x="16679" y="43919"/>
                    </a:lnTo>
                    <a:lnTo>
                      <a:pt x="17173" y="44475"/>
                    </a:lnTo>
                    <a:lnTo>
                      <a:pt x="17729" y="45031"/>
                    </a:lnTo>
                    <a:lnTo>
                      <a:pt x="18285" y="45525"/>
                    </a:lnTo>
                    <a:lnTo>
                      <a:pt x="18903" y="45957"/>
                    </a:lnTo>
                    <a:lnTo>
                      <a:pt x="19520" y="46390"/>
                    </a:lnTo>
                    <a:lnTo>
                      <a:pt x="20138" y="46760"/>
                    </a:lnTo>
                    <a:lnTo>
                      <a:pt x="20818" y="47131"/>
                    </a:lnTo>
                    <a:lnTo>
                      <a:pt x="21559" y="47440"/>
                    </a:lnTo>
                    <a:lnTo>
                      <a:pt x="22238" y="47687"/>
                    </a:lnTo>
                    <a:lnTo>
                      <a:pt x="22980" y="47872"/>
                    </a:lnTo>
                    <a:lnTo>
                      <a:pt x="23783" y="48057"/>
                    </a:lnTo>
                    <a:lnTo>
                      <a:pt x="24524" y="48181"/>
                    </a:lnTo>
                    <a:lnTo>
                      <a:pt x="25327" y="48243"/>
                    </a:lnTo>
                    <a:lnTo>
                      <a:pt x="26130" y="48304"/>
                    </a:lnTo>
                    <a:lnTo>
                      <a:pt x="26130" y="48304"/>
                    </a:lnTo>
                    <a:lnTo>
                      <a:pt x="26933" y="48243"/>
                    </a:lnTo>
                    <a:lnTo>
                      <a:pt x="27674" y="48181"/>
                    </a:lnTo>
                    <a:lnTo>
                      <a:pt x="28415" y="48057"/>
                    </a:lnTo>
                    <a:lnTo>
                      <a:pt x="29157" y="47934"/>
                    </a:lnTo>
                    <a:lnTo>
                      <a:pt x="29898" y="47687"/>
                    </a:lnTo>
                    <a:lnTo>
                      <a:pt x="30577" y="47440"/>
                    </a:lnTo>
                    <a:lnTo>
                      <a:pt x="31257" y="47193"/>
                    </a:lnTo>
                    <a:lnTo>
                      <a:pt x="31936" y="46884"/>
                    </a:lnTo>
                    <a:lnTo>
                      <a:pt x="32554" y="46513"/>
                    </a:lnTo>
                    <a:lnTo>
                      <a:pt x="33172" y="46081"/>
                    </a:lnTo>
                    <a:lnTo>
                      <a:pt x="33789" y="45648"/>
                    </a:lnTo>
                    <a:lnTo>
                      <a:pt x="34345" y="45216"/>
                    </a:lnTo>
                    <a:lnTo>
                      <a:pt x="34839" y="44722"/>
                    </a:lnTo>
                    <a:lnTo>
                      <a:pt x="35395" y="44166"/>
                    </a:lnTo>
                    <a:lnTo>
                      <a:pt x="35828" y="43610"/>
                    </a:lnTo>
                    <a:lnTo>
                      <a:pt x="36260" y="42992"/>
                    </a:lnTo>
                    <a:lnTo>
                      <a:pt x="36260" y="42992"/>
                    </a:lnTo>
                    <a:lnTo>
                      <a:pt x="37496" y="43425"/>
                    </a:lnTo>
                    <a:lnTo>
                      <a:pt x="38793" y="43733"/>
                    </a:lnTo>
                    <a:lnTo>
                      <a:pt x="40090" y="43919"/>
                    </a:lnTo>
                    <a:lnTo>
                      <a:pt x="41449" y="43981"/>
                    </a:lnTo>
                    <a:lnTo>
                      <a:pt x="41449" y="43981"/>
                    </a:lnTo>
                    <a:lnTo>
                      <a:pt x="42870" y="43919"/>
                    </a:lnTo>
                    <a:lnTo>
                      <a:pt x="44167" y="43733"/>
                    </a:lnTo>
                    <a:lnTo>
                      <a:pt x="45464" y="43425"/>
                    </a:lnTo>
                    <a:lnTo>
                      <a:pt x="46699" y="42992"/>
                    </a:lnTo>
                    <a:lnTo>
                      <a:pt x="47935" y="42436"/>
                    </a:lnTo>
                    <a:lnTo>
                      <a:pt x="49047" y="41819"/>
                    </a:lnTo>
                    <a:lnTo>
                      <a:pt x="50097" y="41077"/>
                    </a:lnTo>
                    <a:lnTo>
                      <a:pt x="51023" y="40213"/>
                    </a:lnTo>
                    <a:lnTo>
                      <a:pt x="51888" y="39286"/>
                    </a:lnTo>
                    <a:lnTo>
                      <a:pt x="52691" y="38298"/>
                    </a:lnTo>
                    <a:lnTo>
                      <a:pt x="53371" y="37248"/>
                    </a:lnTo>
                    <a:lnTo>
                      <a:pt x="53927" y="36136"/>
                    </a:lnTo>
                    <a:lnTo>
                      <a:pt x="54421" y="34962"/>
                    </a:lnTo>
                    <a:lnTo>
                      <a:pt x="54730" y="33727"/>
                    </a:lnTo>
                    <a:lnTo>
                      <a:pt x="54915" y="32430"/>
                    </a:lnTo>
                    <a:lnTo>
                      <a:pt x="55038" y="31132"/>
                    </a:lnTo>
                    <a:lnTo>
                      <a:pt x="55038" y="31132"/>
                    </a:lnTo>
                    <a:lnTo>
                      <a:pt x="54977" y="30329"/>
                    </a:lnTo>
                    <a:lnTo>
                      <a:pt x="54915" y="29588"/>
                    </a:lnTo>
                    <a:lnTo>
                      <a:pt x="54791" y="28847"/>
                    </a:lnTo>
                    <a:lnTo>
                      <a:pt x="54668" y="28106"/>
                    </a:lnTo>
                    <a:lnTo>
                      <a:pt x="54421" y="27426"/>
                    </a:lnTo>
                    <a:lnTo>
                      <a:pt x="54174" y="26685"/>
                    </a:lnTo>
                    <a:lnTo>
                      <a:pt x="53927" y="26005"/>
                    </a:lnTo>
                    <a:lnTo>
                      <a:pt x="53618" y="25388"/>
                    </a:lnTo>
                    <a:lnTo>
                      <a:pt x="53247" y="24770"/>
                    </a:lnTo>
                    <a:lnTo>
                      <a:pt x="52815" y="24152"/>
                    </a:lnTo>
                    <a:lnTo>
                      <a:pt x="52382" y="23535"/>
                    </a:lnTo>
                    <a:lnTo>
                      <a:pt x="51950" y="22979"/>
                    </a:lnTo>
                    <a:lnTo>
                      <a:pt x="51456" y="22423"/>
                    </a:lnTo>
                    <a:lnTo>
                      <a:pt x="50962" y="21929"/>
                    </a:lnTo>
                    <a:lnTo>
                      <a:pt x="50406" y="21434"/>
                    </a:lnTo>
                    <a:lnTo>
                      <a:pt x="49788" y="2094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7" name="Google Shape;1048;p142">
                <a:extLst>
                  <a:ext uri="{FF2B5EF4-FFF2-40B4-BE49-F238E27FC236}">
                    <a16:creationId xmlns:a16="http://schemas.microsoft.com/office/drawing/2014/main" id="{3AB13D6E-73FC-C119-8804-7177AABD3945}"/>
                  </a:ext>
                </a:extLst>
              </p:cNvPr>
              <p:cNvSpPr/>
              <p:nvPr/>
            </p:nvSpPr>
            <p:spPr>
              <a:xfrm>
                <a:off x="11618549" y="2639416"/>
                <a:ext cx="212708" cy="109628"/>
              </a:xfrm>
              <a:custGeom>
                <a:avLst/>
                <a:gdLst/>
                <a:ahLst/>
                <a:cxnLst/>
                <a:rect l="l" t="t" r="r" b="b"/>
                <a:pathLst>
                  <a:path w="18223" h="9390" extrusionOk="0">
                    <a:moveTo>
                      <a:pt x="0" y="0"/>
                    </a:moveTo>
                    <a:lnTo>
                      <a:pt x="247" y="989"/>
                    </a:lnTo>
                    <a:lnTo>
                      <a:pt x="556" y="1915"/>
                    </a:lnTo>
                    <a:lnTo>
                      <a:pt x="927" y="2780"/>
                    </a:lnTo>
                    <a:lnTo>
                      <a:pt x="1359" y="3645"/>
                    </a:lnTo>
                    <a:lnTo>
                      <a:pt x="1915" y="4448"/>
                    </a:lnTo>
                    <a:lnTo>
                      <a:pt x="2471" y="5189"/>
                    </a:lnTo>
                    <a:lnTo>
                      <a:pt x="3089" y="5930"/>
                    </a:lnTo>
                    <a:lnTo>
                      <a:pt x="3830" y="6548"/>
                    </a:lnTo>
                    <a:lnTo>
                      <a:pt x="4571" y="7166"/>
                    </a:lnTo>
                    <a:lnTo>
                      <a:pt x="5374" y="7660"/>
                    </a:lnTo>
                    <a:lnTo>
                      <a:pt x="6177" y="8154"/>
                    </a:lnTo>
                    <a:lnTo>
                      <a:pt x="7104" y="8586"/>
                    </a:lnTo>
                    <a:lnTo>
                      <a:pt x="7968" y="8895"/>
                    </a:lnTo>
                    <a:lnTo>
                      <a:pt x="8957" y="9142"/>
                    </a:lnTo>
                    <a:lnTo>
                      <a:pt x="9945" y="9328"/>
                    </a:lnTo>
                    <a:lnTo>
                      <a:pt x="10933" y="9389"/>
                    </a:lnTo>
                    <a:lnTo>
                      <a:pt x="11489" y="9389"/>
                    </a:lnTo>
                    <a:lnTo>
                      <a:pt x="12539" y="9328"/>
                    </a:lnTo>
                    <a:lnTo>
                      <a:pt x="13528" y="9204"/>
                    </a:lnTo>
                    <a:lnTo>
                      <a:pt x="14578" y="8957"/>
                    </a:lnTo>
                    <a:lnTo>
                      <a:pt x="15504" y="8648"/>
                    </a:lnTo>
                    <a:lnTo>
                      <a:pt x="14948" y="7722"/>
                    </a:lnTo>
                    <a:lnTo>
                      <a:pt x="14454" y="6671"/>
                    </a:lnTo>
                    <a:lnTo>
                      <a:pt x="15504" y="6424"/>
                    </a:lnTo>
                    <a:lnTo>
                      <a:pt x="16493" y="6177"/>
                    </a:lnTo>
                    <a:lnTo>
                      <a:pt x="17172" y="6671"/>
                    </a:lnTo>
                    <a:lnTo>
                      <a:pt x="17913" y="7104"/>
                    </a:lnTo>
                    <a:lnTo>
                      <a:pt x="18161" y="7227"/>
                    </a:lnTo>
                    <a:lnTo>
                      <a:pt x="18222" y="7227"/>
                    </a:lnTo>
                    <a:lnTo>
                      <a:pt x="17728" y="6980"/>
                    </a:lnTo>
                    <a:lnTo>
                      <a:pt x="17234" y="6610"/>
                    </a:lnTo>
                    <a:lnTo>
                      <a:pt x="16802" y="6301"/>
                    </a:lnTo>
                    <a:lnTo>
                      <a:pt x="16431" y="5930"/>
                    </a:lnTo>
                    <a:lnTo>
                      <a:pt x="15443" y="6116"/>
                    </a:lnTo>
                    <a:lnTo>
                      <a:pt x="14454" y="6301"/>
                    </a:lnTo>
                    <a:lnTo>
                      <a:pt x="13466" y="6363"/>
                    </a:lnTo>
                    <a:lnTo>
                      <a:pt x="12478" y="6424"/>
                    </a:lnTo>
                    <a:lnTo>
                      <a:pt x="11057" y="6424"/>
                    </a:lnTo>
                    <a:lnTo>
                      <a:pt x="10130" y="6363"/>
                    </a:lnTo>
                    <a:lnTo>
                      <a:pt x="9204" y="6177"/>
                    </a:lnTo>
                    <a:lnTo>
                      <a:pt x="8339" y="5992"/>
                    </a:lnTo>
                    <a:lnTo>
                      <a:pt x="7412" y="5745"/>
                    </a:lnTo>
                    <a:lnTo>
                      <a:pt x="6609" y="5436"/>
                    </a:lnTo>
                    <a:lnTo>
                      <a:pt x="5745" y="5127"/>
                    </a:lnTo>
                    <a:lnTo>
                      <a:pt x="5003" y="4695"/>
                    </a:lnTo>
                    <a:lnTo>
                      <a:pt x="4200" y="4262"/>
                    </a:lnTo>
                    <a:lnTo>
                      <a:pt x="3459" y="3768"/>
                    </a:lnTo>
                    <a:lnTo>
                      <a:pt x="2780" y="3212"/>
                    </a:lnTo>
                    <a:lnTo>
                      <a:pt x="2162" y="2656"/>
                    </a:lnTo>
                    <a:lnTo>
                      <a:pt x="1544" y="2039"/>
                    </a:lnTo>
                    <a:lnTo>
                      <a:pt x="988" y="1421"/>
                    </a:lnTo>
                    <a:lnTo>
                      <a:pt x="494" y="7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A96B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8" name="Google Shape;1049;p142">
                <a:extLst>
                  <a:ext uri="{FF2B5EF4-FFF2-40B4-BE49-F238E27FC236}">
                    <a16:creationId xmlns:a16="http://schemas.microsoft.com/office/drawing/2014/main" id="{739F689F-9ACA-B82E-D1D8-A31D67819761}"/>
                  </a:ext>
                </a:extLst>
              </p:cNvPr>
              <p:cNvSpPr/>
              <p:nvPr/>
            </p:nvSpPr>
            <p:spPr>
              <a:xfrm>
                <a:off x="12004191" y="2750415"/>
                <a:ext cx="30290" cy="28137"/>
              </a:xfrm>
              <a:custGeom>
                <a:avLst/>
                <a:gdLst/>
                <a:ahLst/>
                <a:cxnLst/>
                <a:rect l="l" t="t" r="r" b="b"/>
                <a:pathLst>
                  <a:path w="2595" h="2410" extrusionOk="0">
                    <a:moveTo>
                      <a:pt x="2595" y="1"/>
                    </a:moveTo>
                    <a:lnTo>
                      <a:pt x="2100" y="495"/>
                    </a:lnTo>
                    <a:lnTo>
                      <a:pt x="1668" y="989"/>
                    </a:lnTo>
                    <a:lnTo>
                      <a:pt x="1668" y="989"/>
                    </a:lnTo>
                    <a:lnTo>
                      <a:pt x="2162" y="495"/>
                    </a:lnTo>
                    <a:lnTo>
                      <a:pt x="2595" y="1"/>
                    </a:lnTo>
                    <a:close/>
                    <a:moveTo>
                      <a:pt x="618" y="1916"/>
                    </a:moveTo>
                    <a:lnTo>
                      <a:pt x="309" y="2163"/>
                    </a:lnTo>
                    <a:lnTo>
                      <a:pt x="556" y="1978"/>
                    </a:lnTo>
                    <a:lnTo>
                      <a:pt x="618" y="1916"/>
                    </a:lnTo>
                    <a:close/>
                    <a:moveTo>
                      <a:pt x="309" y="2163"/>
                    </a:moveTo>
                    <a:lnTo>
                      <a:pt x="62" y="2348"/>
                    </a:lnTo>
                    <a:lnTo>
                      <a:pt x="0" y="2410"/>
                    </a:lnTo>
                    <a:lnTo>
                      <a:pt x="0" y="2410"/>
                    </a:lnTo>
                    <a:lnTo>
                      <a:pt x="309" y="2163"/>
                    </a:lnTo>
                    <a:close/>
                  </a:path>
                </a:pathLst>
              </a:custGeom>
              <a:solidFill>
                <a:srgbClr val="B6B3B3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9" name="Google Shape;1050;p142">
                <a:extLst>
                  <a:ext uri="{FF2B5EF4-FFF2-40B4-BE49-F238E27FC236}">
                    <a16:creationId xmlns:a16="http://schemas.microsoft.com/office/drawing/2014/main" id="{CF278DCD-32E4-1C2D-3C8F-058139AC564C}"/>
                  </a:ext>
                </a:extLst>
              </p:cNvPr>
              <p:cNvSpPr/>
              <p:nvPr/>
            </p:nvSpPr>
            <p:spPr>
              <a:xfrm>
                <a:off x="11920568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0" name="Google Shape;1051;p142">
                <a:extLst>
                  <a:ext uri="{FF2B5EF4-FFF2-40B4-BE49-F238E27FC236}">
                    <a16:creationId xmlns:a16="http://schemas.microsoft.com/office/drawing/2014/main" id="{CA13F55D-2B32-E809-5802-9C6E69DA795B}"/>
                  </a:ext>
                </a:extLst>
              </p:cNvPr>
              <p:cNvSpPr/>
              <p:nvPr/>
            </p:nvSpPr>
            <p:spPr>
              <a:xfrm>
                <a:off x="11920568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1" name="Google Shape;1052;p142">
                <a:extLst>
                  <a:ext uri="{FF2B5EF4-FFF2-40B4-BE49-F238E27FC236}">
                    <a16:creationId xmlns:a16="http://schemas.microsoft.com/office/drawing/2014/main" id="{773B7089-3E3A-83EB-3913-745E664480A8}"/>
                  </a:ext>
                </a:extLst>
              </p:cNvPr>
              <p:cNvSpPr/>
              <p:nvPr/>
            </p:nvSpPr>
            <p:spPr>
              <a:xfrm>
                <a:off x="11920568" y="280520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0"/>
                    </a:moveTo>
                    <a:lnTo>
                      <a:pt x="6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2" name="Google Shape;1053;p142">
                <a:extLst>
                  <a:ext uri="{FF2B5EF4-FFF2-40B4-BE49-F238E27FC236}">
                    <a16:creationId xmlns:a16="http://schemas.microsoft.com/office/drawing/2014/main" id="{E23088BB-B771-CB79-B0DD-B1E3B8D7FA11}"/>
                  </a:ext>
                </a:extLst>
              </p:cNvPr>
              <p:cNvSpPr/>
              <p:nvPr/>
            </p:nvSpPr>
            <p:spPr>
              <a:xfrm>
                <a:off x="11919856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3" name="Google Shape;1054;p142">
                <a:extLst>
                  <a:ext uri="{FF2B5EF4-FFF2-40B4-BE49-F238E27FC236}">
                    <a16:creationId xmlns:a16="http://schemas.microsoft.com/office/drawing/2014/main" id="{C3329EC8-F47D-C7BA-456D-A0CA75DDCEC6}"/>
                  </a:ext>
                </a:extLst>
              </p:cNvPr>
              <p:cNvSpPr/>
              <p:nvPr/>
            </p:nvSpPr>
            <p:spPr>
              <a:xfrm>
                <a:off x="11921291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4" name="Google Shape;1055;p142">
                <a:extLst>
                  <a:ext uri="{FF2B5EF4-FFF2-40B4-BE49-F238E27FC236}">
                    <a16:creationId xmlns:a16="http://schemas.microsoft.com/office/drawing/2014/main" id="{0F8B8356-C1D8-E847-E24C-5327447C5CAD}"/>
                  </a:ext>
                </a:extLst>
              </p:cNvPr>
              <p:cNvSpPr/>
              <p:nvPr/>
            </p:nvSpPr>
            <p:spPr>
              <a:xfrm>
                <a:off x="11919856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5" name="Google Shape;1056;p142">
                <a:extLst>
                  <a:ext uri="{FF2B5EF4-FFF2-40B4-BE49-F238E27FC236}">
                    <a16:creationId xmlns:a16="http://schemas.microsoft.com/office/drawing/2014/main" id="{3172CC6E-0A73-D86F-C40E-76F5839C8057}"/>
                  </a:ext>
                </a:extLst>
              </p:cNvPr>
              <p:cNvSpPr/>
              <p:nvPr/>
            </p:nvSpPr>
            <p:spPr>
              <a:xfrm>
                <a:off x="11921291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6" name="Google Shape;1057;p142">
                <a:extLst>
                  <a:ext uri="{FF2B5EF4-FFF2-40B4-BE49-F238E27FC236}">
                    <a16:creationId xmlns:a16="http://schemas.microsoft.com/office/drawing/2014/main" id="{7EFD4BC9-E0C0-230A-9804-0163C2B6EEA9}"/>
                  </a:ext>
                </a:extLst>
              </p:cNvPr>
              <p:cNvSpPr/>
              <p:nvPr/>
            </p:nvSpPr>
            <p:spPr>
              <a:xfrm>
                <a:off x="11919132" y="280520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7" name="Google Shape;1058;p142">
                <a:extLst>
                  <a:ext uri="{FF2B5EF4-FFF2-40B4-BE49-F238E27FC236}">
                    <a16:creationId xmlns:a16="http://schemas.microsoft.com/office/drawing/2014/main" id="{C196B59B-F889-0153-01BA-A380C3CDCF89}"/>
                  </a:ext>
                </a:extLst>
              </p:cNvPr>
              <p:cNvSpPr/>
              <p:nvPr/>
            </p:nvSpPr>
            <p:spPr>
              <a:xfrm>
                <a:off x="11922015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8" name="Google Shape;1059;p142">
                <a:extLst>
                  <a:ext uri="{FF2B5EF4-FFF2-40B4-BE49-F238E27FC236}">
                    <a16:creationId xmlns:a16="http://schemas.microsoft.com/office/drawing/2014/main" id="{682B8780-35DB-6464-8426-07185B41EA60}"/>
                  </a:ext>
                </a:extLst>
              </p:cNvPr>
              <p:cNvSpPr/>
              <p:nvPr/>
            </p:nvSpPr>
            <p:spPr>
              <a:xfrm>
                <a:off x="11919132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9" name="Google Shape;1060;p142">
                <a:extLst>
                  <a:ext uri="{FF2B5EF4-FFF2-40B4-BE49-F238E27FC236}">
                    <a16:creationId xmlns:a16="http://schemas.microsoft.com/office/drawing/2014/main" id="{D158DE05-B244-7A17-DF10-61E221A76599}"/>
                  </a:ext>
                </a:extLst>
              </p:cNvPr>
              <p:cNvSpPr/>
              <p:nvPr/>
            </p:nvSpPr>
            <p:spPr>
              <a:xfrm>
                <a:off x="11922015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0" name="Google Shape;1061;p142">
                <a:extLst>
                  <a:ext uri="{FF2B5EF4-FFF2-40B4-BE49-F238E27FC236}">
                    <a16:creationId xmlns:a16="http://schemas.microsoft.com/office/drawing/2014/main" id="{4915203D-1160-5E73-1917-594D6234CAD1}"/>
                  </a:ext>
                </a:extLst>
              </p:cNvPr>
              <p:cNvSpPr/>
              <p:nvPr/>
            </p:nvSpPr>
            <p:spPr>
              <a:xfrm>
                <a:off x="11918409" y="280520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1" name="Google Shape;1062;p142">
                <a:extLst>
                  <a:ext uri="{FF2B5EF4-FFF2-40B4-BE49-F238E27FC236}">
                    <a16:creationId xmlns:a16="http://schemas.microsoft.com/office/drawing/2014/main" id="{AE9F2834-F875-440B-7A16-21F8D8EAA780}"/>
                  </a:ext>
                </a:extLst>
              </p:cNvPr>
              <p:cNvSpPr/>
              <p:nvPr/>
            </p:nvSpPr>
            <p:spPr>
              <a:xfrm>
                <a:off x="11918409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2" name="Google Shape;1063;p142">
                <a:extLst>
                  <a:ext uri="{FF2B5EF4-FFF2-40B4-BE49-F238E27FC236}">
                    <a16:creationId xmlns:a16="http://schemas.microsoft.com/office/drawing/2014/main" id="{4EC351F5-EF4A-C6F1-ABA4-FD9C9764618F}"/>
                  </a:ext>
                </a:extLst>
              </p:cNvPr>
              <p:cNvSpPr/>
              <p:nvPr/>
            </p:nvSpPr>
            <p:spPr>
              <a:xfrm>
                <a:off x="11918409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3" name="Google Shape;1064;p142">
                <a:extLst>
                  <a:ext uri="{FF2B5EF4-FFF2-40B4-BE49-F238E27FC236}">
                    <a16:creationId xmlns:a16="http://schemas.microsoft.com/office/drawing/2014/main" id="{58742CED-101B-EC0E-9295-4BDEE8F94043}"/>
                  </a:ext>
                </a:extLst>
              </p:cNvPr>
              <p:cNvSpPr/>
              <p:nvPr/>
            </p:nvSpPr>
            <p:spPr>
              <a:xfrm>
                <a:off x="11916962" y="2805202"/>
                <a:ext cx="1459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25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4" name="Google Shape;1065;p142">
                <a:extLst>
                  <a:ext uri="{FF2B5EF4-FFF2-40B4-BE49-F238E27FC236}">
                    <a16:creationId xmlns:a16="http://schemas.microsoft.com/office/drawing/2014/main" id="{80ADD76D-3936-D633-9BEA-0BF3151F36E4}"/>
                  </a:ext>
                </a:extLst>
              </p:cNvPr>
              <p:cNvSpPr/>
              <p:nvPr/>
            </p:nvSpPr>
            <p:spPr>
              <a:xfrm>
                <a:off x="11884532" y="2800872"/>
                <a:ext cx="16598" cy="2895"/>
              </a:xfrm>
              <a:custGeom>
                <a:avLst/>
                <a:gdLst/>
                <a:ahLst/>
                <a:cxnLst/>
                <a:rect l="l" t="t" r="r" b="b"/>
                <a:pathLst>
                  <a:path w="1422" h="248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80" y="124"/>
                    </a:lnTo>
                    <a:lnTo>
                      <a:pt x="1421" y="248"/>
                    </a:lnTo>
                    <a:lnTo>
                      <a:pt x="1421" y="248"/>
                    </a:lnTo>
                    <a:lnTo>
                      <a:pt x="1421" y="248"/>
                    </a:lnTo>
                    <a:lnTo>
                      <a:pt x="680" y="124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5" name="Google Shape;1066;p142">
                <a:extLst>
                  <a:ext uri="{FF2B5EF4-FFF2-40B4-BE49-F238E27FC236}">
                    <a16:creationId xmlns:a16="http://schemas.microsoft.com/office/drawing/2014/main" id="{FC47AFF6-486C-DBFD-E3FF-BF6AF9FA93FD}"/>
                  </a:ext>
                </a:extLst>
              </p:cNvPr>
              <p:cNvSpPr/>
              <p:nvPr/>
            </p:nvSpPr>
            <p:spPr>
              <a:xfrm>
                <a:off x="11922015" y="2800161"/>
                <a:ext cx="35344" cy="5055"/>
              </a:xfrm>
              <a:custGeom>
                <a:avLst/>
                <a:gdLst/>
                <a:ahLst/>
                <a:cxnLst/>
                <a:rect l="l" t="t" r="r" b="b"/>
                <a:pathLst>
                  <a:path w="3028" h="433" fill="none" extrusionOk="0">
                    <a:moveTo>
                      <a:pt x="3027" y="0"/>
                    </a:moveTo>
                    <a:lnTo>
                      <a:pt x="3027" y="0"/>
                    </a:lnTo>
                    <a:lnTo>
                      <a:pt x="2286" y="185"/>
                    </a:lnTo>
                    <a:lnTo>
                      <a:pt x="1545" y="309"/>
                    </a:lnTo>
                    <a:lnTo>
                      <a:pt x="803" y="371"/>
                    </a:lnTo>
                    <a:lnTo>
                      <a:pt x="0" y="432"/>
                    </a:lnTo>
                    <a:lnTo>
                      <a:pt x="0" y="432"/>
                    </a:lnTo>
                    <a:lnTo>
                      <a:pt x="803" y="371"/>
                    </a:lnTo>
                    <a:lnTo>
                      <a:pt x="1545" y="309"/>
                    </a:lnTo>
                    <a:lnTo>
                      <a:pt x="2286" y="185"/>
                    </a:lnTo>
                    <a:lnTo>
                      <a:pt x="3027" y="0"/>
                    </a:lnTo>
                    <a:lnTo>
                      <a:pt x="3027" y="0"/>
                    </a:lnTo>
                    <a:lnTo>
                      <a:pt x="30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6" name="Google Shape;1067;p142">
                <a:extLst>
                  <a:ext uri="{FF2B5EF4-FFF2-40B4-BE49-F238E27FC236}">
                    <a16:creationId xmlns:a16="http://schemas.microsoft.com/office/drawing/2014/main" id="{12F9CE9C-522F-1447-2749-CD7A5259DDBE}"/>
                  </a:ext>
                </a:extLst>
              </p:cNvPr>
              <p:cNvSpPr/>
              <p:nvPr/>
            </p:nvSpPr>
            <p:spPr>
              <a:xfrm>
                <a:off x="12004191" y="2772761"/>
                <a:ext cx="7214" cy="5779"/>
              </a:xfrm>
              <a:custGeom>
                <a:avLst/>
                <a:gdLst/>
                <a:ahLst/>
                <a:cxnLst/>
                <a:rect l="l" t="t" r="r" b="b"/>
                <a:pathLst>
                  <a:path w="618" h="495" fill="none" extrusionOk="0">
                    <a:moveTo>
                      <a:pt x="618" y="1"/>
                    </a:moveTo>
                    <a:lnTo>
                      <a:pt x="618" y="1"/>
                    </a:lnTo>
                    <a:lnTo>
                      <a:pt x="556" y="63"/>
                    </a:lnTo>
                    <a:lnTo>
                      <a:pt x="556" y="63"/>
                    </a:lnTo>
                    <a:lnTo>
                      <a:pt x="62" y="433"/>
                    </a:lnTo>
                    <a:lnTo>
                      <a:pt x="62" y="433"/>
                    </a:lnTo>
                    <a:lnTo>
                      <a:pt x="0" y="495"/>
                    </a:lnTo>
                    <a:lnTo>
                      <a:pt x="0" y="495"/>
                    </a:lnTo>
                    <a:lnTo>
                      <a:pt x="61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7" name="Google Shape;1068;p142">
                <a:extLst>
                  <a:ext uri="{FF2B5EF4-FFF2-40B4-BE49-F238E27FC236}">
                    <a16:creationId xmlns:a16="http://schemas.microsoft.com/office/drawing/2014/main" id="{C4631507-48EE-7473-4D5A-266C45CD5DB5}"/>
                  </a:ext>
                </a:extLst>
              </p:cNvPr>
              <p:cNvSpPr/>
              <p:nvPr/>
            </p:nvSpPr>
            <p:spPr>
              <a:xfrm>
                <a:off x="12017880" y="2743926"/>
                <a:ext cx="20929" cy="23817"/>
              </a:xfrm>
              <a:custGeom>
                <a:avLst/>
                <a:gdLst/>
                <a:ahLst/>
                <a:cxnLst/>
                <a:rect l="l" t="t" r="r" b="b"/>
                <a:pathLst>
                  <a:path w="1793" h="2040" fill="none" extrusionOk="0">
                    <a:moveTo>
                      <a:pt x="1792" y="1"/>
                    </a:moveTo>
                    <a:lnTo>
                      <a:pt x="1792" y="1"/>
                    </a:lnTo>
                    <a:lnTo>
                      <a:pt x="1422" y="557"/>
                    </a:lnTo>
                    <a:lnTo>
                      <a:pt x="927" y="1051"/>
                    </a:lnTo>
                    <a:lnTo>
                      <a:pt x="495" y="1545"/>
                    </a:lnTo>
                    <a:lnTo>
                      <a:pt x="1" y="2039"/>
                    </a:lnTo>
                    <a:lnTo>
                      <a:pt x="1" y="2039"/>
                    </a:lnTo>
                    <a:lnTo>
                      <a:pt x="1" y="2039"/>
                    </a:lnTo>
                    <a:lnTo>
                      <a:pt x="1" y="2039"/>
                    </a:lnTo>
                    <a:lnTo>
                      <a:pt x="495" y="1545"/>
                    </a:lnTo>
                    <a:lnTo>
                      <a:pt x="989" y="1051"/>
                    </a:lnTo>
                    <a:lnTo>
                      <a:pt x="1422" y="557"/>
                    </a:lnTo>
                    <a:lnTo>
                      <a:pt x="1792" y="1"/>
                    </a:lnTo>
                    <a:lnTo>
                      <a:pt x="1792" y="1"/>
                    </a:lnTo>
                    <a:lnTo>
                      <a:pt x="179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8" name="Google Shape;1069;p142">
                <a:extLst>
                  <a:ext uri="{FF2B5EF4-FFF2-40B4-BE49-F238E27FC236}">
                    <a16:creationId xmlns:a16="http://schemas.microsoft.com/office/drawing/2014/main" id="{392812EA-2151-0243-4858-3607EF55CFF6}"/>
                  </a:ext>
                </a:extLst>
              </p:cNvPr>
              <p:cNvSpPr/>
              <p:nvPr/>
            </p:nvSpPr>
            <p:spPr>
              <a:xfrm>
                <a:off x="11799473" y="2740332"/>
                <a:ext cx="59133" cy="51207"/>
              </a:xfrm>
              <a:custGeom>
                <a:avLst/>
                <a:gdLst/>
                <a:ahLst/>
                <a:cxnLst/>
                <a:rect l="l" t="t" r="r" b="b"/>
                <a:pathLst>
                  <a:path w="5066" h="4386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95" y="680"/>
                    </a:lnTo>
                    <a:lnTo>
                      <a:pt x="1051" y="1359"/>
                    </a:lnTo>
                    <a:lnTo>
                      <a:pt x="1606" y="1977"/>
                    </a:lnTo>
                    <a:lnTo>
                      <a:pt x="2224" y="2533"/>
                    </a:lnTo>
                    <a:lnTo>
                      <a:pt x="2904" y="3089"/>
                    </a:lnTo>
                    <a:lnTo>
                      <a:pt x="3583" y="3521"/>
                    </a:lnTo>
                    <a:lnTo>
                      <a:pt x="4324" y="4015"/>
                    </a:lnTo>
                    <a:lnTo>
                      <a:pt x="5066" y="4386"/>
                    </a:lnTo>
                    <a:lnTo>
                      <a:pt x="5066" y="4386"/>
                    </a:lnTo>
                    <a:lnTo>
                      <a:pt x="5066" y="4386"/>
                    </a:lnTo>
                    <a:lnTo>
                      <a:pt x="5066" y="4386"/>
                    </a:lnTo>
                    <a:lnTo>
                      <a:pt x="4324" y="4015"/>
                    </a:lnTo>
                    <a:lnTo>
                      <a:pt x="3583" y="3521"/>
                    </a:lnTo>
                    <a:lnTo>
                      <a:pt x="2904" y="3089"/>
                    </a:lnTo>
                    <a:lnTo>
                      <a:pt x="2224" y="2533"/>
                    </a:lnTo>
                    <a:lnTo>
                      <a:pt x="1606" y="1977"/>
                    </a:lnTo>
                    <a:lnTo>
                      <a:pt x="1051" y="1359"/>
                    </a:lnTo>
                    <a:lnTo>
                      <a:pt x="495" y="68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9" name="Google Shape;1070;p142">
                <a:extLst>
                  <a:ext uri="{FF2B5EF4-FFF2-40B4-BE49-F238E27FC236}">
                    <a16:creationId xmlns:a16="http://schemas.microsoft.com/office/drawing/2014/main" id="{04DA40C3-35C6-3B0C-238D-A1CAC1D620B4}"/>
                  </a:ext>
                </a:extLst>
              </p:cNvPr>
              <p:cNvSpPr/>
              <p:nvPr/>
            </p:nvSpPr>
            <p:spPr>
              <a:xfrm>
                <a:off x="11969591" y="2767720"/>
                <a:ext cx="48312" cy="28861"/>
              </a:xfrm>
              <a:custGeom>
                <a:avLst/>
                <a:gdLst/>
                <a:ahLst/>
                <a:cxnLst/>
                <a:rect l="l" t="t" r="r" b="b"/>
                <a:pathLst>
                  <a:path w="4139" h="2472" extrusionOk="0">
                    <a:moveTo>
                      <a:pt x="4139" y="0"/>
                    </a:moveTo>
                    <a:lnTo>
                      <a:pt x="3583" y="433"/>
                    </a:lnTo>
                    <a:lnTo>
                      <a:pt x="3521" y="495"/>
                    </a:lnTo>
                    <a:lnTo>
                      <a:pt x="3521" y="495"/>
                    </a:lnTo>
                    <a:lnTo>
                      <a:pt x="4139" y="0"/>
                    </a:lnTo>
                    <a:close/>
                    <a:moveTo>
                      <a:pt x="3027" y="865"/>
                    </a:moveTo>
                    <a:lnTo>
                      <a:pt x="2286" y="1359"/>
                    </a:lnTo>
                    <a:lnTo>
                      <a:pt x="1544" y="1792"/>
                    </a:lnTo>
                    <a:lnTo>
                      <a:pt x="2224" y="1421"/>
                    </a:lnTo>
                    <a:lnTo>
                      <a:pt x="2965" y="927"/>
                    </a:lnTo>
                    <a:lnTo>
                      <a:pt x="3027" y="865"/>
                    </a:lnTo>
                    <a:close/>
                    <a:moveTo>
                      <a:pt x="1544" y="1792"/>
                    </a:moveTo>
                    <a:lnTo>
                      <a:pt x="741" y="2162"/>
                    </a:lnTo>
                    <a:lnTo>
                      <a:pt x="0" y="2471"/>
                    </a:lnTo>
                    <a:lnTo>
                      <a:pt x="803" y="2162"/>
                    </a:lnTo>
                    <a:lnTo>
                      <a:pt x="1544" y="1792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0" name="Google Shape;1071;p142">
                <a:extLst>
                  <a:ext uri="{FF2B5EF4-FFF2-40B4-BE49-F238E27FC236}">
                    <a16:creationId xmlns:a16="http://schemas.microsoft.com/office/drawing/2014/main" id="{B915CFF8-24BE-69B2-F647-89F601BED5AA}"/>
                  </a:ext>
                </a:extLst>
              </p:cNvPr>
              <p:cNvSpPr/>
              <p:nvPr/>
            </p:nvSpPr>
            <p:spPr>
              <a:xfrm>
                <a:off x="11969591" y="2777814"/>
                <a:ext cx="35333" cy="18762"/>
              </a:xfrm>
              <a:custGeom>
                <a:avLst/>
                <a:gdLst/>
                <a:ahLst/>
                <a:cxnLst/>
                <a:rect l="l" t="t" r="r" b="b"/>
                <a:pathLst>
                  <a:path w="3027" h="1607" fill="none" extrusionOk="0">
                    <a:moveTo>
                      <a:pt x="3027" y="0"/>
                    </a:moveTo>
                    <a:lnTo>
                      <a:pt x="3027" y="0"/>
                    </a:lnTo>
                    <a:lnTo>
                      <a:pt x="2286" y="494"/>
                    </a:lnTo>
                    <a:lnTo>
                      <a:pt x="1544" y="927"/>
                    </a:lnTo>
                    <a:lnTo>
                      <a:pt x="803" y="1297"/>
                    </a:lnTo>
                    <a:lnTo>
                      <a:pt x="0" y="1606"/>
                    </a:lnTo>
                    <a:lnTo>
                      <a:pt x="0" y="1606"/>
                    </a:lnTo>
                    <a:lnTo>
                      <a:pt x="0" y="1606"/>
                    </a:lnTo>
                    <a:lnTo>
                      <a:pt x="741" y="1297"/>
                    </a:lnTo>
                    <a:lnTo>
                      <a:pt x="1544" y="927"/>
                    </a:lnTo>
                    <a:lnTo>
                      <a:pt x="2224" y="556"/>
                    </a:lnTo>
                    <a:lnTo>
                      <a:pt x="2965" y="62"/>
                    </a:lnTo>
                    <a:lnTo>
                      <a:pt x="2965" y="62"/>
                    </a:lnTo>
                    <a:lnTo>
                      <a:pt x="30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1" name="Google Shape;1072;p142">
                <a:extLst>
                  <a:ext uri="{FF2B5EF4-FFF2-40B4-BE49-F238E27FC236}">
                    <a16:creationId xmlns:a16="http://schemas.microsoft.com/office/drawing/2014/main" id="{7A5EE34A-C378-F12C-917B-C92D2D9CF797}"/>
                  </a:ext>
                </a:extLst>
              </p:cNvPr>
              <p:cNvSpPr/>
              <p:nvPr/>
            </p:nvSpPr>
            <p:spPr>
              <a:xfrm>
                <a:off x="12010680" y="2767720"/>
                <a:ext cx="7214" cy="5779"/>
              </a:xfrm>
              <a:custGeom>
                <a:avLst/>
                <a:gdLst/>
                <a:ahLst/>
                <a:cxnLst/>
                <a:rect l="l" t="t" r="r" b="b"/>
                <a:pathLst>
                  <a:path w="618" h="495" fill="none" extrusionOk="0">
                    <a:moveTo>
                      <a:pt x="618" y="0"/>
                    </a:moveTo>
                    <a:lnTo>
                      <a:pt x="618" y="0"/>
                    </a:lnTo>
                    <a:lnTo>
                      <a:pt x="618" y="0"/>
                    </a:lnTo>
                    <a:lnTo>
                      <a:pt x="618" y="0"/>
                    </a:lnTo>
                    <a:lnTo>
                      <a:pt x="0" y="495"/>
                    </a:lnTo>
                    <a:lnTo>
                      <a:pt x="0" y="495"/>
                    </a:lnTo>
                    <a:lnTo>
                      <a:pt x="62" y="433"/>
                    </a:lnTo>
                    <a:lnTo>
                      <a:pt x="62" y="433"/>
                    </a:lnTo>
                    <a:lnTo>
                      <a:pt x="618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2" name="Google Shape;1073;p142">
                <a:extLst>
                  <a:ext uri="{FF2B5EF4-FFF2-40B4-BE49-F238E27FC236}">
                    <a16:creationId xmlns:a16="http://schemas.microsoft.com/office/drawing/2014/main" id="{C2B8C2BD-1A4B-D843-D8CF-F5E2653DB436}"/>
                  </a:ext>
                </a:extLst>
              </p:cNvPr>
              <p:cNvSpPr/>
              <p:nvPr/>
            </p:nvSpPr>
            <p:spPr>
              <a:xfrm>
                <a:off x="11901114" y="2803755"/>
                <a:ext cx="15863" cy="1459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125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680" y="63"/>
                    </a:lnTo>
                    <a:lnTo>
                      <a:pt x="1359" y="124"/>
                    </a:lnTo>
                    <a:lnTo>
                      <a:pt x="1359" y="124"/>
                    </a:lnTo>
                    <a:lnTo>
                      <a:pt x="1359" y="124"/>
                    </a:lnTo>
                    <a:lnTo>
                      <a:pt x="680" y="63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3" name="Google Shape;1074;p142">
                <a:extLst>
                  <a:ext uri="{FF2B5EF4-FFF2-40B4-BE49-F238E27FC236}">
                    <a16:creationId xmlns:a16="http://schemas.microsoft.com/office/drawing/2014/main" id="{91098593-1627-A8F0-97AC-7A74D768FCB6}"/>
                  </a:ext>
                </a:extLst>
              </p:cNvPr>
              <p:cNvSpPr/>
              <p:nvPr/>
            </p:nvSpPr>
            <p:spPr>
              <a:xfrm>
                <a:off x="11901114" y="2803755"/>
                <a:ext cx="15863" cy="1459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125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680" y="63"/>
                    </a:lnTo>
                    <a:lnTo>
                      <a:pt x="1359" y="124"/>
                    </a:lnTo>
                    <a:lnTo>
                      <a:pt x="1359" y="124"/>
                    </a:lnTo>
                    <a:lnTo>
                      <a:pt x="1359" y="124"/>
                    </a:lnTo>
                    <a:lnTo>
                      <a:pt x="680" y="63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4" name="Google Shape;1075;p142">
                <a:extLst>
                  <a:ext uri="{FF2B5EF4-FFF2-40B4-BE49-F238E27FC236}">
                    <a16:creationId xmlns:a16="http://schemas.microsoft.com/office/drawing/2014/main" id="{13888B59-E9EF-2DCC-AB55-33BCA1CD1748}"/>
                  </a:ext>
                </a:extLst>
              </p:cNvPr>
              <p:cNvSpPr/>
              <p:nvPr/>
            </p:nvSpPr>
            <p:spPr>
              <a:xfrm>
                <a:off x="11957338" y="2796555"/>
                <a:ext cx="12268" cy="3619"/>
              </a:xfrm>
              <a:custGeom>
                <a:avLst/>
                <a:gdLst/>
                <a:ahLst/>
                <a:cxnLst/>
                <a:rect l="l" t="t" r="r" b="b"/>
                <a:pathLst>
                  <a:path w="1051" h="310" extrusionOk="0">
                    <a:moveTo>
                      <a:pt x="1050" y="0"/>
                    </a:moveTo>
                    <a:lnTo>
                      <a:pt x="1050" y="0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1050" y="0"/>
                    </a:lnTo>
                    <a:lnTo>
                      <a:pt x="1050" y="0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5" name="Google Shape;1076;p142">
                <a:extLst>
                  <a:ext uri="{FF2B5EF4-FFF2-40B4-BE49-F238E27FC236}">
                    <a16:creationId xmlns:a16="http://schemas.microsoft.com/office/drawing/2014/main" id="{3FA55617-B407-31DF-F49A-D618BB009C21}"/>
                  </a:ext>
                </a:extLst>
              </p:cNvPr>
              <p:cNvSpPr/>
              <p:nvPr/>
            </p:nvSpPr>
            <p:spPr>
              <a:xfrm>
                <a:off x="11957338" y="2796555"/>
                <a:ext cx="12268" cy="3619"/>
              </a:xfrm>
              <a:custGeom>
                <a:avLst/>
                <a:gdLst/>
                <a:ahLst/>
                <a:cxnLst/>
                <a:rect l="l" t="t" r="r" b="b"/>
                <a:pathLst>
                  <a:path w="1051" h="310" fill="none" extrusionOk="0">
                    <a:moveTo>
                      <a:pt x="1050" y="0"/>
                    </a:moveTo>
                    <a:lnTo>
                      <a:pt x="1050" y="0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1050" y="0"/>
                    </a:lnTo>
                    <a:lnTo>
                      <a:pt x="105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6" name="Google Shape;1077;p142">
                <a:extLst>
                  <a:ext uri="{FF2B5EF4-FFF2-40B4-BE49-F238E27FC236}">
                    <a16:creationId xmlns:a16="http://schemas.microsoft.com/office/drawing/2014/main" id="{59FA55B4-5AD3-30E0-55E1-D56640AE9CD2}"/>
                  </a:ext>
                </a:extLst>
              </p:cNvPr>
              <p:cNvSpPr/>
              <p:nvPr/>
            </p:nvSpPr>
            <p:spPr>
              <a:xfrm>
                <a:off x="11858579" y="2791502"/>
                <a:ext cx="25971" cy="9387"/>
              </a:xfrm>
              <a:custGeom>
                <a:avLst/>
                <a:gdLst/>
                <a:ahLst/>
                <a:cxnLst/>
                <a:rect l="l" t="t" r="r" b="b"/>
                <a:pathLst>
                  <a:path w="2225" h="804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112" y="433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1112" y="43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7" name="Google Shape;1078;p142">
                <a:extLst>
                  <a:ext uri="{FF2B5EF4-FFF2-40B4-BE49-F238E27FC236}">
                    <a16:creationId xmlns:a16="http://schemas.microsoft.com/office/drawing/2014/main" id="{75DBB65B-ECC6-3526-3301-3229B27EF740}"/>
                  </a:ext>
                </a:extLst>
              </p:cNvPr>
              <p:cNvSpPr/>
              <p:nvPr/>
            </p:nvSpPr>
            <p:spPr>
              <a:xfrm>
                <a:off x="11858579" y="2791502"/>
                <a:ext cx="25971" cy="9387"/>
              </a:xfrm>
              <a:custGeom>
                <a:avLst/>
                <a:gdLst/>
                <a:ahLst/>
                <a:cxnLst/>
                <a:rect l="l" t="t" r="r" b="b"/>
                <a:pathLst>
                  <a:path w="2225" h="804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112" y="433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1112" y="433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8" name="Google Shape;1079;p142">
                <a:extLst>
                  <a:ext uri="{FF2B5EF4-FFF2-40B4-BE49-F238E27FC236}">
                    <a16:creationId xmlns:a16="http://schemas.microsoft.com/office/drawing/2014/main" id="{C29E3022-D5B9-F642-E7FB-1C59142B2362}"/>
                  </a:ext>
                </a:extLst>
              </p:cNvPr>
              <p:cNvSpPr/>
              <p:nvPr/>
            </p:nvSpPr>
            <p:spPr>
              <a:xfrm>
                <a:off x="11787220" y="2694915"/>
                <a:ext cx="274000" cy="110352"/>
              </a:xfrm>
              <a:custGeom>
                <a:avLst/>
                <a:gdLst/>
                <a:ahLst/>
                <a:cxnLst/>
                <a:rect l="l" t="t" r="r" b="b"/>
                <a:pathLst>
                  <a:path w="23474" h="9452" extrusionOk="0">
                    <a:moveTo>
                      <a:pt x="23473" y="1"/>
                    </a:moveTo>
                    <a:lnTo>
                      <a:pt x="22670" y="680"/>
                    </a:lnTo>
                    <a:lnTo>
                      <a:pt x="21805" y="1298"/>
                    </a:lnTo>
                    <a:lnTo>
                      <a:pt x="20940" y="1792"/>
                    </a:lnTo>
                    <a:lnTo>
                      <a:pt x="20014" y="2286"/>
                    </a:lnTo>
                    <a:lnTo>
                      <a:pt x="19026" y="2719"/>
                    </a:lnTo>
                    <a:lnTo>
                      <a:pt x="18037" y="3089"/>
                    </a:lnTo>
                    <a:lnTo>
                      <a:pt x="17049" y="3336"/>
                    </a:lnTo>
                    <a:lnTo>
                      <a:pt x="16061" y="3583"/>
                    </a:lnTo>
                    <a:lnTo>
                      <a:pt x="14825" y="3830"/>
                    </a:lnTo>
                    <a:lnTo>
                      <a:pt x="13528" y="3954"/>
                    </a:lnTo>
                    <a:lnTo>
                      <a:pt x="12231" y="4077"/>
                    </a:lnTo>
                    <a:lnTo>
                      <a:pt x="10934" y="4139"/>
                    </a:lnTo>
                    <a:lnTo>
                      <a:pt x="10007" y="4077"/>
                    </a:lnTo>
                    <a:lnTo>
                      <a:pt x="9081" y="4016"/>
                    </a:lnTo>
                    <a:lnTo>
                      <a:pt x="8154" y="3892"/>
                    </a:lnTo>
                    <a:lnTo>
                      <a:pt x="7227" y="3769"/>
                    </a:lnTo>
                    <a:lnTo>
                      <a:pt x="6301" y="3522"/>
                    </a:lnTo>
                    <a:lnTo>
                      <a:pt x="5436" y="3213"/>
                    </a:lnTo>
                    <a:lnTo>
                      <a:pt x="4571" y="2904"/>
                    </a:lnTo>
                    <a:lnTo>
                      <a:pt x="3707" y="2471"/>
                    </a:lnTo>
                    <a:lnTo>
                      <a:pt x="3459" y="2348"/>
                    </a:lnTo>
                    <a:lnTo>
                      <a:pt x="2718" y="1915"/>
                    </a:lnTo>
                    <a:lnTo>
                      <a:pt x="2039" y="1421"/>
                    </a:lnTo>
                    <a:lnTo>
                      <a:pt x="1050" y="1668"/>
                    </a:lnTo>
                    <a:lnTo>
                      <a:pt x="0" y="1915"/>
                    </a:lnTo>
                    <a:lnTo>
                      <a:pt x="494" y="2966"/>
                    </a:lnTo>
                    <a:lnTo>
                      <a:pt x="1050" y="3892"/>
                    </a:lnTo>
                    <a:lnTo>
                      <a:pt x="1545" y="4572"/>
                    </a:lnTo>
                    <a:lnTo>
                      <a:pt x="2101" y="5251"/>
                    </a:lnTo>
                    <a:lnTo>
                      <a:pt x="2656" y="5869"/>
                    </a:lnTo>
                    <a:lnTo>
                      <a:pt x="3274" y="6425"/>
                    </a:lnTo>
                    <a:lnTo>
                      <a:pt x="3954" y="6981"/>
                    </a:lnTo>
                    <a:lnTo>
                      <a:pt x="4633" y="7413"/>
                    </a:lnTo>
                    <a:lnTo>
                      <a:pt x="5374" y="7907"/>
                    </a:lnTo>
                    <a:lnTo>
                      <a:pt x="6116" y="8278"/>
                    </a:lnTo>
                    <a:lnTo>
                      <a:pt x="7227" y="8710"/>
                    </a:lnTo>
                    <a:lnTo>
                      <a:pt x="8339" y="9081"/>
                    </a:lnTo>
                    <a:lnTo>
                      <a:pt x="9019" y="9204"/>
                    </a:lnTo>
                    <a:lnTo>
                      <a:pt x="9760" y="9328"/>
                    </a:lnTo>
                    <a:lnTo>
                      <a:pt x="10440" y="9390"/>
                    </a:lnTo>
                    <a:lnTo>
                      <a:pt x="11119" y="9451"/>
                    </a:lnTo>
                    <a:lnTo>
                      <a:pt x="11551" y="9451"/>
                    </a:lnTo>
                    <a:lnTo>
                      <a:pt x="12354" y="9390"/>
                    </a:lnTo>
                    <a:lnTo>
                      <a:pt x="13096" y="9328"/>
                    </a:lnTo>
                    <a:lnTo>
                      <a:pt x="13837" y="9204"/>
                    </a:lnTo>
                    <a:lnTo>
                      <a:pt x="14578" y="9019"/>
                    </a:lnTo>
                    <a:lnTo>
                      <a:pt x="15628" y="8710"/>
                    </a:lnTo>
                    <a:lnTo>
                      <a:pt x="16431" y="8401"/>
                    </a:lnTo>
                    <a:lnTo>
                      <a:pt x="17172" y="8031"/>
                    </a:lnTo>
                    <a:lnTo>
                      <a:pt x="17914" y="7598"/>
                    </a:lnTo>
                    <a:lnTo>
                      <a:pt x="18655" y="7104"/>
                    </a:lnTo>
                    <a:lnTo>
                      <a:pt x="19149" y="6734"/>
                    </a:lnTo>
                    <a:lnTo>
                      <a:pt x="19767" y="6239"/>
                    </a:lnTo>
                    <a:lnTo>
                      <a:pt x="20261" y="5745"/>
                    </a:lnTo>
                    <a:lnTo>
                      <a:pt x="20693" y="5251"/>
                    </a:lnTo>
                    <a:lnTo>
                      <a:pt x="21188" y="4757"/>
                    </a:lnTo>
                    <a:lnTo>
                      <a:pt x="21558" y="4201"/>
                    </a:lnTo>
                    <a:lnTo>
                      <a:pt x="20632" y="3769"/>
                    </a:lnTo>
                    <a:lnTo>
                      <a:pt x="19705" y="3274"/>
                    </a:lnTo>
                    <a:lnTo>
                      <a:pt x="20632" y="2966"/>
                    </a:lnTo>
                    <a:lnTo>
                      <a:pt x="21435" y="2533"/>
                    </a:lnTo>
                    <a:lnTo>
                      <a:pt x="22238" y="2039"/>
                    </a:lnTo>
                    <a:lnTo>
                      <a:pt x="22855" y="1421"/>
                    </a:lnTo>
                    <a:lnTo>
                      <a:pt x="23041" y="1112"/>
                    </a:lnTo>
                    <a:lnTo>
                      <a:pt x="23164" y="742"/>
                    </a:lnTo>
                    <a:lnTo>
                      <a:pt x="23350" y="371"/>
                    </a:lnTo>
                    <a:lnTo>
                      <a:pt x="23473" y="62"/>
                    </a:lnTo>
                    <a:lnTo>
                      <a:pt x="23473" y="1"/>
                    </a:lnTo>
                    <a:close/>
                  </a:path>
                </a:pathLst>
              </a:custGeom>
              <a:solidFill>
                <a:srgbClr val="DCA96B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9" name="Google Shape;1080;p142">
                <a:extLst>
                  <a:ext uri="{FF2B5EF4-FFF2-40B4-BE49-F238E27FC236}">
                    <a16:creationId xmlns:a16="http://schemas.microsoft.com/office/drawing/2014/main" id="{5EA98740-4C20-6798-BA2C-07FAB72A8585}"/>
                  </a:ext>
                </a:extLst>
              </p:cNvPr>
              <p:cNvSpPr/>
              <p:nvPr/>
            </p:nvSpPr>
            <p:spPr>
              <a:xfrm>
                <a:off x="11787220" y="2694915"/>
                <a:ext cx="274000" cy="110352"/>
              </a:xfrm>
              <a:custGeom>
                <a:avLst/>
                <a:gdLst/>
                <a:ahLst/>
                <a:cxnLst/>
                <a:rect l="l" t="t" r="r" b="b"/>
                <a:pathLst>
                  <a:path w="23474" h="9452" fill="none" extrusionOk="0">
                    <a:moveTo>
                      <a:pt x="23473" y="1"/>
                    </a:moveTo>
                    <a:lnTo>
                      <a:pt x="23473" y="1"/>
                    </a:lnTo>
                    <a:lnTo>
                      <a:pt x="22670" y="680"/>
                    </a:lnTo>
                    <a:lnTo>
                      <a:pt x="21805" y="1298"/>
                    </a:lnTo>
                    <a:lnTo>
                      <a:pt x="20940" y="1792"/>
                    </a:lnTo>
                    <a:lnTo>
                      <a:pt x="20014" y="2286"/>
                    </a:lnTo>
                    <a:lnTo>
                      <a:pt x="19026" y="2719"/>
                    </a:lnTo>
                    <a:lnTo>
                      <a:pt x="18037" y="3089"/>
                    </a:lnTo>
                    <a:lnTo>
                      <a:pt x="17049" y="3336"/>
                    </a:lnTo>
                    <a:lnTo>
                      <a:pt x="16061" y="3583"/>
                    </a:lnTo>
                    <a:lnTo>
                      <a:pt x="16061" y="3583"/>
                    </a:lnTo>
                    <a:lnTo>
                      <a:pt x="14825" y="3830"/>
                    </a:lnTo>
                    <a:lnTo>
                      <a:pt x="13528" y="3954"/>
                    </a:lnTo>
                    <a:lnTo>
                      <a:pt x="12231" y="4077"/>
                    </a:lnTo>
                    <a:lnTo>
                      <a:pt x="10934" y="4139"/>
                    </a:lnTo>
                    <a:lnTo>
                      <a:pt x="10934" y="4139"/>
                    </a:lnTo>
                    <a:lnTo>
                      <a:pt x="10007" y="4077"/>
                    </a:lnTo>
                    <a:lnTo>
                      <a:pt x="9081" y="4016"/>
                    </a:lnTo>
                    <a:lnTo>
                      <a:pt x="8154" y="3892"/>
                    </a:lnTo>
                    <a:lnTo>
                      <a:pt x="7227" y="3769"/>
                    </a:lnTo>
                    <a:lnTo>
                      <a:pt x="6301" y="3522"/>
                    </a:lnTo>
                    <a:lnTo>
                      <a:pt x="5436" y="3213"/>
                    </a:lnTo>
                    <a:lnTo>
                      <a:pt x="4571" y="2904"/>
                    </a:lnTo>
                    <a:lnTo>
                      <a:pt x="3707" y="2471"/>
                    </a:lnTo>
                    <a:lnTo>
                      <a:pt x="3707" y="2471"/>
                    </a:lnTo>
                    <a:lnTo>
                      <a:pt x="3459" y="2348"/>
                    </a:lnTo>
                    <a:lnTo>
                      <a:pt x="3459" y="2348"/>
                    </a:lnTo>
                    <a:lnTo>
                      <a:pt x="2718" y="1915"/>
                    </a:lnTo>
                    <a:lnTo>
                      <a:pt x="2039" y="1421"/>
                    </a:lnTo>
                    <a:lnTo>
                      <a:pt x="2039" y="1421"/>
                    </a:lnTo>
                    <a:lnTo>
                      <a:pt x="1050" y="1668"/>
                    </a:lnTo>
                    <a:lnTo>
                      <a:pt x="0" y="1915"/>
                    </a:lnTo>
                    <a:lnTo>
                      <a:pt x="0" y="1915"/>
                    </a:lnTo>
                    <a:lnTo>
                      <a:pt x="494" y="2966"/>
                    </a:lnTo>
                    <a:lnTo>
                      <a:pt x="1050" y="3892"/>
                    </a:lnTo>
                    <a:lnTo>
                      <a:pt x="1050" y="3892"/>
                    </a:lnTo>
                    <a:lnTo>
                      <a:pt x="1050" y="3892"/>
                    </a:lnTo>
                    <a:lnTo>
                      <a:pt x="1050" y="3892"/>
                    </a:lnTo>
                    <a:lnTo>
                      <a:pt x="1545" y="4572"/>
                    </a:lnTo>
                    <a:lnTo>
                      <a:pt x="2101" y="5251"/>
                    </a:lnTo>
                    <a:lnTo>
                      <a:pt x="2656" y="5869"/>
                    </a:lnTo>
                    <a:lnTo>
                      <a:pt x="3274" y="6425"/>
                    </a:lnTo>
                    <a:lnTo>
                      <a:pt x="3954" y="6981"/>
                    </a:lnTo>
                    <a:lnTo>
                      <a:pt x="4633" y="7413"/>
                    </a:lnTo>
                    <a:lnTo>
                      <a:pt x="5374" y="7907"/>
                    </a:lnTo>
                    <a:lnTo>
                      <a:pt x="6116" y="8278"/>
                    </a:lnTo>
                    <a:lnTo>
                      <a:pt x="6116" y="8278"/>
                    </a:lnTo>
                    <a:lnTo>
                      <a:pt x="7227" y="8710"/>
                    </a:lnTo>
                    <a:lnTo>
                      <a:pt x="8339" y="9081"/>
                    </a:lnTo>
                    <a:lnTo>
                      <a:pt x="8339" y="9081"/>
                    </a:lnTo>
                    <a:lnTo>
                      <a:pt x="9019" y="9204"/>
                    </a:lnTo>
                    <a:lnTo>
                      <a:pt x="9760" y="9328"/>
                    </a:lnTo>
                    <a:lnTo>
                      <a:pt x="9760" y="9328"/>
                    </a:lnTo>
                    <a:lnTo>
                      <a:pt x="10440" y="9390"/>
                    </a:lnTo>
                    <a:lnTo>
                      <a:pt x="11119" y="9451"/>
                    </a:lnTo>
                    <a:lnTo>
                      <a:pt x="11119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2354" y="9390"/>
                    </a:lnTo>
                    <a:lnTo>
                      <a:pt x="13096" y="9328"/>
                    </a:lnTo>
                    <a:lnTo>
                      <a:pt x="13837" y="9204"/>
                    </a:lnTo>
                    <a:lnTo>
                      <a:pt x="14578" y="9019"/>
                    </a:lnTo>
                    <a:lnTo>
                      <a:pt x="14578" y="9019"/>
                    </a:lnTo>
                    <a:lnTo>
                      <a:pt x="15628" y="8710"/>
                    </a:lnTo>
                    <a:lnTo>
                      <a:pt x="15628" y="8710"/>
                    </a:lnTo>
                    <a:lnTo>
                      <a:pt x="16431" y="8401"/>
                    </a:lnTo>
                    <a:lnTo>
                      <a:pt x="17172" y="8031"/>
                    </a:lnTo>
                    <a:lnTo>
                      <a:pt x="17914" y="7598"/>
                    </a:lnTo>
                    <a:lnTo>
                      <a:pt x="18655" y="7104"/>
                    </a:lnTo>
                    <a:lnTo>
                      <a:pt x="18655" y="7104"/>
                    </a:lnTo>
                    <a:lnTo>
                      <a:pt x="19149" y="6734"/>
                    </a:lnTo>
                    <a:lnTo>
                      <a:pt x="19149" y="6734"/>
                    </a:lnTo>
                    <a:lnTo>
                      <a:pt x="19767" y="6239"/>
                    </a:lnTo>
                    <a:lnTo>
                      <a:pt x="19767" y="6239"/>
                    </a:lnTo>
                    <a:lnTo>
                      <a:pt x="20261" y="5745"/>
                    </a:lnTo>
                    <a:lnTo>
                      <a:pt x="20693" y="5251"/>
                    </a:lnTo>
                    <a:lnTo>
                      <a:pt x="21188" y="4757"/>
                    </a:lnTo>
                    <a:lnTo>
                      <a:pt x="21558" y="4201"/>
                    </a:lnTo>
                    <a:lnTo>
                      <a:pt x="21558" y="4201"/>
                    </a:lnTo>
                    <a:lnTo>
                      <a:pt x="20632" y="3769"/>
                    </a:lnTo>
                    <a:lnTo>
                      <a:pt x="19705" y="3274"/>
                    </a:lnTo>
                    <a:lnTo>
                      <a:pt x="19705" y="3274"/>
                    </a:lnTo>
                    <a:lnTo>
                      <a:pt x="20632" y="2966"/>
                    </a:lnTo>
                    <a:lnTo>
                      <a:pt x="21435" y="2533"/>
                    </a:lnTo>
                    <a:lnTo>
                      <a:pt x="22238" y="2039"/>
                    </a:lnTo>
                    <a:lnTo>
                      <a:pt x="22855" y="1421"/>
                    </a:lnTo>
                    <a:lnTo>
                      <a:pt x="22855" y="1421"/>
                    </a:lnTo>
                    <a:lnTo>
                      <a:pt x="23041" y="1112"/>
                    </a:lnTo>
                    <a:lnTo>
                      <a:pt x="23164" y="742"/>
                    </a:lnTo>
                    <a:lnTo>
                      <a:pt x="23350" y="371"/>
                    </a:lnTo>
                    <a:lnTo>
                      <a:pt x="23473" y="62"/>
                    </a:lnTo>
                    <a:lnTo>
                      <a:pt x="23473" y="62"/>
                    </a:lnTo>
                    <a:lnTo>
                      <a:pt x="2347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0" name="Google Shape;1081;p142">
                <a:extLst>
                  <a:ext uri="{FF2B5EF4-FFF2-40B4-BE49-F238E27FC236}">
                    <a16:creationId xmlns:a16="http://schemas.microsoft.com/office/drawing/2014/main" id="{2ECED781-08EA-E349-41A0-9EF15B982FE5}"/>
                  </a:ext>
                </a:extLst>
              </p:cNvPr>
              <p:cNvSpPr/>
              <p:nvPr/>
            </p:nvSpPr>
            <p:spPr>
              <a:xfrm>
                <a:off x="12038791" y="2743215"/>
                <a:ext cx="14427" cy="5055"/>
              </a:xfrm>
              <a:custGeom>
                <a:avLst/>
                <a:gdLst/>
                <a:ahLst/>
                <a:cxnLst/>
                <a:rect l="l" t="t" r="r" b="b"/>
                <a:pathLst>
                  <a:path w="1236" h="433" extrusionOk="0">
                    <a:moveTo>
                      <a:pt x="0" y="0"/>
                    </a:moveTo>
                    <a:lnTo>
                      <a:pt x="0" y="62"/>
                    </a:lnTo>
                    <a:lnTo>
                      <a:pt x="1236" y="4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6B3B3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1" name="Google Shape;1082;p142">
                <a:extLst>
                  <a:ext uri="{FF2B5EF4-FFF2-40B4-BE49-F238E27FC236}">
                    <a16:creationId xmlns:a16="http://schemas.microsoft.com/office/drawing/2014/main" id="{9085BBF6-6E50-526B-396B-033994D5E7DB}"/>
                  </a:ext>
                </a:extLst>
              </p:cNvPr>
              <p:cNvSpPr/>
              <p:nvPr/>
            </p:nvSpPr>
            <p:spPr>
              <a:xfrm>
                <a:off x="1173115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2" name="Google Shape;1083;p142">
                <a:extLst>
                  <a:ext uri="{FF2B5EF4-FFF2-40B4-BE49-F238E27FC236}">
                    <a16:creationId xmlns:a16="http://schemas.microsoft.com/office/drawing/2014/main" id="{8EAE8EC1-58A4-129E-212E-3E5DC274C485}"/>
                  </a:ext>
                </a:extLst>
              </p:cNvPr>
              <p:cNvSpPr/>
              <p:nvPr/>
            </p:nvSpPr>
            <p:spPr>
              <a:xfrm>
                <a:off x="1173115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3" name="Google Shape;1084;p142">
                <a:extLst>
                  <a:ext uri="{FF2B5EF4-FFF2-40B4-BE49-F238E27FC236}">
                    <a16:creationId xmlns:a16="http://schemas.microsoft.com/office/drawing/2014/main" id="{9F6D7BA1-114E-24DB-7B44-4444749EE392}"/>
                  </a:ext>
                </a:extLst>
              </p:cNvPr>
              <p:cNvSpPr/>
              <p:nvPr/>
            </p:nvSpPr>
            <p:spPr>
              <a:xfrm>
                <a:off x="11731158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4" name="Google Shape;1085;p142">
                <a:extLst>
                  <a:ext uri="{FF2B5EF4-FFF2-40B4-BE49-F238E27FC236}">
                    <a16:creationId xmlns:a16="http://schemas.microsoft.com/office/drawing/2014/main" id="{252848C7-C20E-48E1-1E79-E943A7D84A71}"/>
                  </a:ext>
                </a:extLst>
              </p:cNvPr>
              <p:cNvSpPr/>
              <p:nvPr/>
            </p:nvSpPr>
            <p:spPr>
              <a:xfrm>
                <a:off x="11730446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5" name="Google Shape;1086;p142">
                <a:extLst>
                  <a:ext uri="{FF2B5EF4-FFF2-40B4-BE49-F238E27FC236}">
                    <a16:creationId xmlns:a16="http://schemas.microsoft.com/office/drawing/2014/main" id="{5DE77C5A-A8F6-28D7-C484-D05F36A414E0}"/>
                  </a:ext>
                </a:extLst>
              </p:cNvPr>
              <p:cNvSpPr/>
              <p:nvPr/>
            </p:nvSpPr>
            <p:spPr>
              <a:xfrm>
                <a:off x="11731881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6" name="Google Shape;1087;p142">
                <a:extLst>
                  <a:ext uri="{FF2B5EF4-FFF2-40B4-BE49-F238E27FC236}">
                    <a16:creationId xmlns:a16="http://schemas.microsoft.com/office/drawing/2014/main" id="{38F33CF0-6DFC-AB97-DC87-D5616FE50274}"/>
                  </a:ext>
                </a:extLst>
              </p:cNvPr>
              <p:cNvSpPr/>
              <p:nvPr/>
            </p:nvSpPr>
            <p:spPr>
              <a:xfrm>
                <a:off x="11731881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7" name="Google Shape;1088;p142">
                <a:extLst>
                  <a:ext uri="{FF2B5EF4-FFF2-40B4-BE49-F238E27FC236}">
                    <a16:creationId xmlns:a16="http://schemas.microsoft.com/office/drawing/2014/main" id="{385E4561-5EC7-2945-BA32-88C3D3C99C50}"/>
                  </a:ext>
                </a:extLst>
              </p:cNvPr>
              <p:cNvSpPr/>
              <p:nvPr/>
            </p:nvSpPr>
            <p:spPr>
              <a:xfrm>
                <a:off x="11732605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8" name="Google Shape;1089;p142">
                <a:extLst>
                  <a:ext uri="{FF2B5EF4-FFF2-40B4-BE49-F238E27FC236}">
                    <a16:creationId xmlns:a16="http://schemas.microsoft.com/office/drawing/2014/main" id="{74F96E8B-980B-0822-B3B0-BCBCEAE51EB5}"/>
                  </a:ext>
                </a:extLst>
              </p:cNvPr>
              <p:cNvSpPr/>
              <p:nvPr/>
            </p:nvSpPr>
            <p:spPr>
              <a:xfrm>
                <a:off x="11732605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9" name="Google Shape;1090;p142">
                <a:extLst>
                  <a:ext uri="{FF2B5EF4-FFF2-40B4-BE49-F238E27FC236}">
                    <a16:creationId xmlns:a16="http://schemas.microsoft.com/office/drawing/2014/main" id="{46512C39-2C2D-D47D-A557-670F5C92CA6C}"/>
                  </a:ext>
                </a:extLst>
              </p:cNvPr>
              <p:cNvSpPr/>
              <p:nvPr/>
            </p:nvSpPr>
            <p:spPr>
              <a:xfrm>
                <a:off x="11732605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0" name="Google Shape;1091;p142">
                <a:extLst>
                  <a:ext uri="{FF2B5EF4-FFF2-40B4-BE49-F238E27FC236}">
                    <a16:creationId xmlns:a16="http://schemas.microsoft.com/office/drawing/2014/main" id="{5821CBD0-143D-5823-997F-86C42E01C87B}"/>
                  </a:ext>
                </a:extLst>
              </p:cNvPr>
              <p:cNvSpPr/>
              <p:nvPr/>
            </p:nvSpPr>
            <p:spPr>
              <a:xfrm>
                <a:off x="1173332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1" name="Google Shape;1092;p142">
                <a:extLst>
                  <a:ext uri="{FF2B5EF4-FFF2-40B4-BE49-F238E27FC236}">
                    <a16:creationId xmlns:a16="http://schemas.microsoft.com/office/drawing/2014/main" id="{438B78B7-18D6-DB0B-6A90-66AA21CB0F1C}"/>
                  </a:ext>
                </a:extLst>
              </p:cNvPr>
              <p:cNvSpPr/>
              <p:nvPr/>
            </p:nvSpPr>
            <p:spPr>
              <a:xfrm>
                <a:off x="1173332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2" name="Google Shape;1093;p142">
                <a:extLst>
                  <a:ext uri="{FF2B5EF4-FFF2-40B4-BE49-F238E27FC236}">
                    <a16:creationId xmlns:a16="http://schemas.microsoft.com/office/drawing/2014/main" id="{3C2DB322-319C-A63A-429B-1085342C6EF5}"/>
                  </a:ext>
                </a:extLst>
              </p:cNvPr>
              <p:cNvSpPr/>
              <p:nvPr/>
            </p:nvSpPr>
            <p:spPr>
              <a:xfrm>
                <a:off x="11733328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3" name="Google Shape;1094;p142">
                <a:extLst>
                  <a:ext uri="{FF2B5EF4-FFF2-40B4-BE49-F238E27FC236}">
                    <a16:creationId xmlns:a16="http://schemas.microsoft.com/office/drawing/2014/main" id="{9EC9BADE-B9FB-A3C4-A243-12B2B80EFF5E}"/>
                  </a:ext>
                </a:extLst>
              </p:cNvPr>
              <p:cNvSpPr/>
              <p:nvPr/>
            </p:nvSpPr>
            <p:spPr>
              <a:xfrm>
                <a:off x="11734040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4" name="Google Shape;1095;p142">
                <a:extLst>
                  <a:ext uri="{FF2B5EF4-FFF2-40B4-BE49-F238E27FC236}">
                    <a16:creationId xmlns:a16="http://schemas.microsoft.com/office/drawing/2014/main" id="{003F5868-B504-5082-4D07-50D9A927DAAC}"/>
                  </a:ext>
                </a:extLst>
              </p:cNvPr>
              <p:cNvSpPr/>
              <p:nvPr/>
            </p:nvSpPr>
            <p:spPr>
              <a:xfrm>
                <a:off x="11734040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5" name="Google Shape;1096;p142">
                <a:extLst>
                  <a:ext uri="{FF2B5EF4-FFF2-40B4-BE49-F238E27FC236}">
                    <a16:creationId xmlns:a16="http://schemas.microsoft.com/office/drawing/2014/main" id="{700B19E2-7CC3-75A0-3BC3-7850D8B6EC24}"/>
                  </a:ext>
                </a:extLst>
              </p:cNvPr>
              <p:cNvSpPr/>
              <p:nvPr/>
            </p:nvSpPr>
            <p:spPr>
              <a:xfrm>
                <a:off x="11734040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6" name="Google Shape;1097;p142">
                <a:extLst>
                  <a:ext uri="{FF2B5EF4-FFF2-40B4-BE49-F238E27FC236}">
                    <a16:creationId xmlns:a16="http://schemas.microsoft.com/office/drawing/2014/main" id="{98419892-4BF4-9F99-D51F-D0D7A0F223DC}"/>
                  </a:ext>
                </a:extLst>
              </p:cNvPr>
              <p:cNvSpPr/>
              <p:nvPr/>
            </p:nvSpPr>
            <p:spPr>
              <a:xfrm>
                <a:off x="1173476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7" name="Google Shape;1098;p142">
                <a:extLst>
                  <a:ext uri="{FF2B5EF4-FFF2-40B4-BE49-F238E27FC236}">
                    <a16:creationId xmlns:a16="http://schemas.microsoft.com/office/drawing/2014/main" id="{F9706FCA-A241-C2E1-49F5-8139474B7A70}"/>
                  </a:ext>
                </a:extLst>
              </p:cNvPr>
              <p:cNvSpPr/>
              <p:nvPr/>
            </p:nvSpPr>
            <p:spPr>
              <a:xfrm>
                <a:off x="1173476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8" name="Google Shape;1099;p142">
                <a:extLst>
                  <a:ext uri="{FF2B5EF4-FFF2-40B4-BE49-F238E27FC236}">
                    <a16:creationId xmlns:a16="http://schemas.microsoft.com/office/drawing/2014/main" id="{827EEDCF-AD18-1ED1-3241-BA5E9FCFE577}"/>
                  </a:ext>
                </a:extLst>
              </p:cNvPr>
              <p:cNvSpPr/>
              <p:nvPr/>
            </p:nvSpPr>
            <p:spPr>
              <a:xfrm>
                <a:off x="11734764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9" name="Google Shape;1100;p142">
                <a:extLst>
                  <a:ext uri="{FF2B5EF4-FFF2-40B4-BE49-F238E27FC236}">
                    <a16:creationId xmlns:a16="http://schemas.microsoft.com/office/drawing/2014/main" id="{79983E48-D5BE-8DC7-73B7-0E080ED2CD67}"/>
                  </a:ext>
                </a:extLst>
              </p:cNvPr>
              <p:cNvSpPr/>
              <p:nvPr/>
            </p:nvSpPr>
            <p:spPr>
              <a:xfrm>
                <a:off x="11735487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0" name="Google Shape;1101;p142">
                <a:extLst>
                  <a:ext uri="{FF2B5EF4-FFF2-40B4-BE49-F238E27FC236}">
                    <a16:creationId xmlns:a16="http://schemas.microsoft.com/office/drawing/2014/main" id="{3C6252F3-436E-E5EE-B7EC-CEEB5E665E8D}"/>
                  </a:ext>
                </a:extLst>
              </p:cNvPr>
              <p:cNvSpPr/>
              <p:nvPr/>
            </p:nvSpPr>
            <p:spPr>
              <a:xfrm>
                <a:off x="11735487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1" name="Google Shape;1102;p142">
                <a:extLst>
                  <a:ext uri="{FF2B5EF4-FFF2-40B4-BE49-F238E27FC236}">
                    <a16:creationId xmlns:a16="http://schemas.microsoft.com/office/drawing/2014/main" id="{78077437-4CA5-B9B1-690A-30DFB6251BEF}"/>
                  </a:ext>
                </a:extLst>
              </p:cNvPr>
              <p:cNvSpPr/>
              <p:nvPr/>
            </p:nvSpPr>
            <p:spPr>
              <a:xfrm>
                <a:off x="11735487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2" name="Google Shape;1103;p142">
                <a:extLst>
                  <a:ext uri="{FF2B5EF4-FFF2-40B4-BE49-F238E27FC236}">
                    <a16:creationId xmlns:a16="http://schemas.microsoft.com/office/drawing/2014/main" id="{9496D300-EA93-0D66-55CB-28A228F7E207}"/>
                  </a:ext>
                </a:extLst>
              </p:cNvPr>
              <p:cNvSpPr/>
              <p:nvPr/>
            </p:nvSpPr>
            <p:spPr>
              <a:xfrm>
                <a:off x="11736211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3" name="Google Shape;1104;p142">
                <a:extLst>
                  <a:ext uri="{FF2B5EF4-FFF2-40B4-BE49-F238E27FC236}">
                    <a16:creationId xmlns:a16="http://schemas.microsoft.com/office/drawing/2014/main" id="{1DA71FC2-7FF1-C2CB-FA06-6FAE0F14B379}"/>
                  </a:ext>
                </a:extLst>
              </p:cNvPr>
              <p:cNvSpPr/>
              <p:nvPr/>
            </p:nvSpPr>
            <p:spPr>
              <a:xfrm>
                <a:off x="11736211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4" name="Google Shape;1105;p142">
                <a:extLst>
                  <a:ext uri="{FF2B5EF4-FFF2-40B4-BE49-F238E27FC236}">
                    <a16:creationId xmlns:a16="http://schemas.microsoft.com/office/drawing/2014/main" id="{35B7EDAA-5217-C733-12A0-F32FE0CE0F4F}"/>
                  </a:ext>
                </a:extLst>
              </p:cNvPr>
              <p:cNvSpPr/>
              <p:nvPr/>
            </p:nvSpPr>
            <p:spPr>
              <a:xfrm>
                <a:off x="1173693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5" name="Google Shape;1106;p142">
                <a:extLst>
                  <a:ext uri="{FF2B5EF4-FFF2-40B4-BE49-F238E27FC236}">
                    <a16:creationId xmlns:a16="http://schemas.microsoft.com/office/drawing/2014/main" id="{25EE7E21-DC91-3FB6-91B0-0D83D9ADB95F}"/>
                  </a:ext>
                </a:extLst>
              </p:cNvPr>
              <p:cNvSpPr/>
              <p:nvPr/>
            </p:nvSpPr>
            <p:spPr>
              <a:xfrm>
                <a:off x="11737646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6" name="Google Shape;1107;p142">
                <a:extLst>
                  <a:ext uri="{FF2B5EF4-FFF2-40B4-BE49-F238E27FC236}">
                    <a16:creationId xmlns:a16="http://schemas.microsoft.com/office/drawing/2014/main" id="{C636C5E5-1C24-11BC-7F5B-E1AA704E25CD}"/>
                  </a:ext>
                </a:extLst>
              </p:cNvPr>
              <p:cNvSpPr/>
              <p:nvPr/>
            </p:nvSpPr>
            <p:spPr>
              <a:xfrm>
                <a:off x="11737646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7" name="Google Shape;1108;p142">
                <a:extLst>
                  <a:ext uri="{FF2B5EF4-FFF2-40B4-BE49-F238E27FC236}">
                    <a16:creationId xmlns:a16="http://schemas.microsoft.com/office/drawing/2014/main" id="{F47C3265-C17C-7153-FA9D-550BE240F917}"/>
                  </a:ext>
                </a:extLst>
              </p:cNvPr>
              <p:cNvSpPr/>
              <p:nvPr/>
            </p:nvSpPr>
            <p:spPr>
              <a:xfrm>
                <a:off x="11737646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8" name="Google Shape;1109;p142">
                <a:extLst>
                  <a:ext uri="{FF2B5EF4-FFF2-40B4-BE49-F238E27FC236}">
                    <a16:creationId xmlns:a16="http://schemas.microsoft.com/office/drawing/2014/main" id="{9CB9F742-56DC-BFDA-AE97-8EA76737072D}"/>
                  </a:ext>
                </a:extLst>
              </p:cNvPr>
              <p:cNvSpPr/>
              <p:nvPr/>
            </p:nvSpPr>
            <p:spPr>
              <a:xfrm>
                <a:off x="11738370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9" name="Google Shape;1110;p142">
                <a:extLst>
                  <a:ext uri="{FF2B5EF4-FFF2-40B4-BE49-F238E27FC236}">
                    <a16:creationId xmlns:a16="http://schemas.microsoft.com/office/drawing/2014/main" id="{BD53A5E0-A124-5891-0EB6-A55C09B1956F}"/>
                  </a:ext>
                </a:extLst>
              </p:cNvPr>
              <p:cNvSpPr/>
              <p:nvPr/>
            </p:nvSpPr>
            <p:spPr>
              <a:xfrm>
                <a:off x="11738370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0" name="Google Shape;1111;p142">
                <a:extLst>
                  <a:ext uri="{FF2B5EF4-FFF2-40B4-BE49-F238E27FC236}">
                    <a16:creationId xmlns:a16="http://schemas.microsoft.com/office/drawing/2014/main" id="{935104AE-8E75-3FC3-0D64-096E63EB39A1}"/>
                  </a:ext>
                </a:extLst>
              </p:cNvPr>
              <p:cNvSpPr/>
              <p:nvPr/>
            </p:nvSpPr>
            <p:spPr>
              <a:xfrm>
                <a:off x="11738370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1" name="Google Shape;1112;p142">
                <a:extLst>
                  <a:ext uri="{FF2B5EF4-FFF2-40B4-BE49-F238E27FC236}">
                    <a16:creationId xmlns:a16="http://schemas.microsoft.com/office/drawing/2014/main" id="{B13BDED9-E4BB-F2FD-B068-9781F2E800A1}"/>
                  </a:ext>
                </a:extLst>
              </p:cNvPr>
              <p:cNvSpPr/>
              <p:nvPr/>
            </p:nvSpPr>
            <p:spPr>
              <a:xfrm>
                <a:off x="11739093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2" name="Google Shape;1113;p142">
                <a:extLst>
                  <a:ext uri="{FF2B5EF4-FFF2-40B4-BE49-F238E27FC236}">
                    <a16:creationId xmlns:a16="http://schemas.microsoft.com/office/drawing/2014/main" id="{4565E56D-1A75-B005-28C4-B3D9AAD6778C}"/>
                  </a:ext>
                </a:extLst>
              </p:cNvPr>
              <p:cNvSpPr/>
              <p:nvPr/>
            </p:nvSpPr>
            <p:spPr>
              <a:xfrm>
                <a:off x="11739093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3" name="Google Shape;1114;p142">
                <a:extLst>
                  <a:ext uri="{FF2B5EF4-FFF2-40B4-BE49-F238E27FC236}">
                    <a16:creationId xmlns:a16="http://schemas.microsoft.com/office/drawing/2014/main" id="{C43C8325-DA13-10C2-81AE-AB1A3C7AF965}"/>
                  </a:ext>
                </a:extLst>
              </p:cNvPr>
              <p:cNvSpPr/>
              <p:nvPr/>
            </p:nvSpPr>
            <p:spPr>
              <a:xfrm>
                <a:off x="11739093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4" name="Google Shape;1115;p142">
                <a:extLst>
                  <a:ext uri="{FF2B5EF4-FFF2-40B4-BE49-F238E27FC236}">
                    <a16:creationId xmlns:a16="http://schemas.microsoft.com/office/drawing/2014/main" id="{3B2B767C-FC48-0283-68F8-7D01EE3DD0EB}"/>
                  </a:ext>
                </a:extLst>
              </p:cNvPr>
              <p:cNvSpPr/>
              <p:nvPr/>
            </p:nvSpPr>
            <p:spPr>
              <a:xfrm>
                <a:off x="11739817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5" name="Google Shape;1116;p142">
                <a:extLst>
                  <a:ext uri="{FF2B5EF4-FFF2-40B4-BE49-F238E27FC236}">
                    <a16:creationId xmlns:a16="http://schemas.microsoft.com/office/drawing/2014/main" id="{1DEF3969-1042-01B4-7AFA-81B595A5996C}"/>
                  </a:ext>
                </a:extLst>
              </p:cNvPr>
              <p:cNvSpPr/>
              <p:nvPr/>
            </p:nvSpPr>
            <p:spPr>
              <a:xfrm>
                <a:off x="11739817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6" name="Google Shape;1117;p142">
                <a:extLst>
                  <a:ext uri="{FF2B5EF4-FFF2-40B4-BE49-F238E27FC236}">
                    <a16:creationId xmlns:a16="http://schemas.microsoft.com/office/drawing/2014/main" id="{E324CEA9-186B-415D-C111-DBF6952A7C97}"/>
                  </a:ext>
                </a:extLst>
              </p:cNvPr>
              <p:cNvSpPr/>
              <p:nvPr/>
            </p:nvSpPr>
            <p:spPr>
              <a:xfrm>
                <a:off x="11739817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7" name="Google Shape;1118;p142">
                <a:extLst>
                  <a:ext uri="{FF2B5EF4-FFF2-40B4-BE49-F238E27FC236}">
                    <a16:creationId xmlns:a16="http://schemas.microsoft.com/office/drawing/2014/main" id="{CE68515F-E52D-EEC3-DDDE-61C28D251617}"/>
                  </a:ext>
                </a:extLst>
              </p:cNvPr>
              <p:cNvSpPr/>
              <p:nvPr/>
            </p:nvSpPr>
            <p:spPr>
              <a:xfrm>
                <a:off x="1174052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8" name="Google Shape;1119;p142">
                <a:extLst>
                  <a:ext uri="{FF2B5EF4-FFF2-40B4-BE49-F238E27FC236}">
                    <a16:creationId xmlns:a16="http://schemas.microsoft.com/office/drawing/2014/main" id="{EDD44B12-F62C-F026-9471-CD5C15F7B18A}"/>
                  </a:ext>
                </a:extLst>
              </p:cNvPr>
              <p:cNvSpPr/>
              <p:nvPr/>
            </p:nvSpPr>
            <p:spPr>
              <a:xfrm>
                <a:off x="11740528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9" name="Google Shape;1120;p142">
                <a:extLst>
                  <a:ext uri="{FF2B5EF4-FFF2-40B4-BE49-F238E27FC236}">
                    <a16:creationId xmlns:a16="http://schemas.microsoft.com/office/drawing/2014/main" id="{604CD8C9-FC75-A0FE-B62F-CB34CAE11829}"/>
                  </a:ext>
                </a:extLst>
              </p:cNvPr>
              <p:cNvSpPr/>
              <p:nvPr/>
            </p:nvSpPr>
            <p:spPr>
              <a:xfrm>
                <a:off x="11741252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0" name="Google Shape;1121;p142">
                <a:extLst>
                  <a:ext uri="{FF2B5EF4-FFF2-40B4-BE49-F238E27FC236}">
                    <a16:creationId xmlns:a16="http://schemas.microsoft.com/office/drawing/2014/main" id="{3B52312A-B439-6251-D1B9-FF5169E35858}"/>
                  </a:ext>
                </a:extLst>
              </p:cNvPr>
              <p:cNvSpPr/>
              <p:nvPr/>
            </p:nvSpPr>
            <p:spPr>
              <a:xfrm>
                <a:off x="11741252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1" name="Google Shape;1122;p142">
                <a:extLst>
                  <a:ext uri="{FF2B5EF4-FFF2-40B4-BE49-F238E27FC236}">
                    <a16:creationId xmlns:a16="http://schemas.microsoft.com/office/drawing/2014/main" id="{D6C207F0-996F-C4B3-DF47-F619A3666163}"/>
                  </a:ext>
                </a:extLst>
              </p:cNvPr>
              <p:cNvSpPr/>
              <p:nvPr/>
            </p:nvSpPr>
            <p:spPr>
              <a:xfrm>
                <a:off x="11741975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2" name="Google Shape;1123;p142">
                <a:extLst>
                  <a:ext uri="{FF2B5EF4-FFF2-40B4-BE49-F238E27FC236}">
                    <a16:creationId xmlns:a16="http://schemas.microsoft.com/office/drawing/2014/main" id="{66E6732E-B513-45A7-8C85-80725164D801}"/>
                  </a:ext>
                </a:extLst>
              </p:cNvPr>
              <p:cNvSpPr/>
              <p:nvPr/>
            </p:nvSpPr>
            <p:spPr>
              <a:xfrm>
                <a:off x="11741975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3" name="Google Shape;1124;p142">
                <a:extLst>
                  <a:ext uri="{FF2B5EF4-FFF2-40B4-BE49-F238E27FC236}">
                    <a16:creationId xmlns:a16="http://schemas.microsoft.com/office/drawing/2014/main" id="{DAE35477-B3CD-CC2A-191D-EDBB1190EB19}"/>
                  </a:ext>
                </a:extLst>
              </p:cNvPr>
              <p:cNvSpPr/>
              <p:nvPr/>
            </p:nvSpPr>
            <p:spPr>
              <a:xfrm>
                <a:off x="11742699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4" name="Google Shape;1125;p142">
                <a:extLst>
                  <a:ext uri="{FF2B5EF4-FFF2-40B4-BE49-F238E27FC236}">
                    <a16:creationId xmlns:a16="http://schemas.microsoft.com/office/drawing/2014/main" id="{5037C781-8952-2B63-CDC1-42DE6AC32155}"/>
                  </a:ext>
                </a:extLst>
              </p:cNvPr>
              <p:cNvSpPr/>
              <p:nvPr/>
            </p:nvSpPr>
            <p:spPr>
              <a:xfrm>
                <a:off x="11742699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5" name="Google Shape;1126;p142">
                <a:extLst>
                  <a:ext uri="{FF2B5EF4-FFF2-40B4-BE49-F238E27FC236}">
                    <a16:creationId xmlns:a16="http://schemas.microsoft.com/office/drawing/2014/main" id="{8FE21FD4-1135-ACF9-933F-476ACE3FB3BC}"/>
                  </a:ext>
                </a:extLst>
              </p:cNvPr>
              <p:cNvSpPr/>
              <p:nvPr/>
            </p:nvSpPr>
            <p:spPr>
              <a:xfrm>
                <a:off x="11743422" y="2754744"/>
                <a:ext cx="0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6" name="Google Shape;1127;p142">
                <a:extLst>
                  <a:ext uri="{FF2B5EF4-FFF2-40B4-BE49-F238E27FC236}">
                    <a16:creationId xmlns:a16="http://schemas.microsoft.com/office/drawing/2014/main" id="{6D9D1A1A-1F6E-778B-2E86-443D945C1AA1}"/>
                  </a:ext>
                </a:extLst>
              </p:cNvPr>
              <p:cNvSpPr/>
              <p:nvPr/>
            </p:nvSpPr>
            <p:spPr>
              <a:xfrm>
                <a:off x="11743422" y="2754744"/>
                <a:ext cx="0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7" name="Google Shape;1128;p142">
                <a:extLst>
                  <a:ext uri="{FF2B5EF4-FFF2-40B4-BE49-F238E27FC236}">
                    <a16:creationId xmlns:a16="http://schemas.microsoft.com/office/drawing/2014/main" id="{953DFD72-0BC0-C76D-0487-EEA7101FE768}"/>
                  </a:ext>
                </a:extLst>
              </p:cNvPr>
              <p:cNvSpPr/>
              <p:nvPr/>
            </p:nvSpPr>
            <p:spPr>
              <a:xfrm>
                <a:off x="11743422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8" name="Google Shape;1129;p142">
                <a:extLst>
                  <a:ext uri="{FF2B5EF4-FFF2-40B4-BE49-F238E27FC236}">
                    <a16:creationId xmlns:a16="http://schemas.microsoft.com/office/drawing/2014/main" id="{6EE603EF-6F7F-BE0D-7F3B-8A16803B44AD}"/>
                  </a:ext>
                </a:extLst>
              </p:cNvPr>
              <p:cNvSpPr/>
              <p:nvPr/>
            </p:nvSpPr>
            <p:spPr>
              <a:xfrm>
                <a:off x="1174413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19" name="Google Shape;1130;p142">
                <a:extLst>
                  <a:ext uri="{FF2B5EF4-FFF2-40B4-BE49-F238E27FC236}">
                    <a16:creationId xmlns:a16="http://schemas.microsoft.com/office/drawing/2014/main" id="{2C3D03AF-A65F-7C7D-A581-4F3677F8E521}"/>
                  </a:ext>
                </a:extLst>
              </p:cNvPr>
              <p:cNvSpPr/>
              <p:nvPr/>
            </p:nvSpPr>
            <p:spPr>
              <a:xfrm>
                <a:off x="1174413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0" name="Google Shape;1131;p142">
                <a:extLst>
                  <a:ext uri="{FF2B5EF4-FFF2-40B4-BE49-F238E27FC236}">
                    <a16:creationId xmlns:a16="http://schemas.microsoft.com/office/drawing/2014/main" id="{B90A775D-0FDE-DF0C-CF66-78CEFE66EE6F}"/>
                  </a:ext>
                </a:extLst>
              </p:cNvPr>
              <p:cNvSpPr/>
              <p:nvPr/>
            </p:nvSpPr>
            <p:spPr>
              <a:xfrm>
                <a:off x="11744134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1" name="Google Shape;1132;p142">
                <a:extLst>
                  <a:ext uri="{FF2B5EF4-FFF2-40B4-BE49-F238E27FC236}">
                    <a16:creationId xmlns:a16="http://schemas.microsoft.com/office/drawing/2014/main" id="{1000A61B-768C-0023-83D1-52DC8668E379}"/>
                  </a:ext>
                </a:extLst>
              </p:cNvPr>
              <p:cNvSpPr/>
              <p:nvPr/>
            </p:nvSpPr>
            <p:spPr>
              <a:xfrm>
                <a:off x="1174485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2" name="Google Shape;1133;p142">
                <a:extLst>
                  <a:ext uri="{FF2B5EF4-FFF2-40B4-BE49-F238E27FC236}">
                    <a16:creationId xmlns:a16="http://schemas.microsoft.com/office/drawing/2014/main" id="{B1F6E888-2F84-ED1A-D9D7-1FFB9B3DA612}"/>
                  </a:ext>
                </a:extLst>
              </p:cNvPr>
              <p:cNvSpPr/>
              <p:nvPr/>
            </p:nvSpPr>
            <p:spPr>
              <a:xfrm>
                <a:off x="1174485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3" name="Google Shape;1134;p142">
                <a:extLst>
                  <a:ext uri="{FF2B5EF4-FFF2-40B4-BE49-F238E27FC236}">
                    <a16:creationId xmlns:a16="http://schemas.microsoft.com/office/drawing/2014/main" id="{59D04936-0069-75D5-A004-B625F9F4B937}"/>
                  </a:ext>
                </a:extLst>
              </p:cNvPr>
              <p:cNvSpPr/>
              <p:nvPr/>
            </p:nvSpPr>
            <p:spPr>
              <a:xfrm>
                <a:off x="11744858" y="2754020"/>
                <a:ext cx="735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63" h="63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63"/>
                    </a:lnTo>
                    <a:lnTo>
                      <a:pt x="1" y="63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4" name="Google Shape;1135;p142">
                <a:extLst>
                  <a:ext uri="{FF2B5EF4-FFF2-40B4-BE49-F238E27FC236}">
                    <a16:creationId xmlns:a16="http://schemas.microsoft.com/office/drawing/2014/main" id="{4287BE6C-43C2-78A9-1565-EC09FD6FA570}"/>
                  </a:ext>
                </a:extLst>
              </p:cNvPr>
              <p:cNvSpPr/>
              <p:nvPr/>
            </p:nvSpPr>
            <p:spPr>
              <a:xfrm>
                <a:off x="11745581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5" name="Google Shape;1136;p142">
                <a:extLst>
                  <a:ext uri="{FF2B5EF4-FFF2-40B4-BE49-F238E27FC236}">
                    <a16:creationId xmlns:a16="http://schemas.microsoft.com/office/drawing/2014/main" id="{E83CDABF-AE9F-2373-63DA-7D07203DE307}"/>
                  </a:ext>
                </a:extLst>
              </p:cNvPr>
              <p:cNvSpPr/>
              <p:nvPr/>
            </p:nvSpPr>
            <p:spPr>
              <a:xfrm>
                <a:off x="11745581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6" name="Google Shape;1137;p142">
                <a:extLst>
                  <a:ext uri="{FF2B5EF4-FFF2-40B4-BE49-F238E27FC236}">
                    <a16:creationId xmlns:a16="http://schemas.microsoft.com/office/drawing/2014/main" id="{6ED831A6-5D88-34F8-CEF4-7314BBEBE284}"/>
                  </a:ext>
                </a:extLst>
              </p:cNvPr>
              <p:cNvSpPr/>
              <p:nvPr/>
            </p:nvSpPr>
            <p:spPr>
              <a:xfrm>
                <a:off x="11745581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7" name="Google Shape;1138;p142">
                <a:extLst>
                  <a:ext uri="{FF2B5EF4-FFF2-40B4-BE49-F238E27FC236}">
                    <a16:creationId xmlns:a16="http://schemas.microsoft.com/office/drawing/2014/main" id="{0645A9D0-2FE4-38AE-AEE1-F0699B0C6DA1}"/>
                  </a:ext>
                </a:extLst>
              </p:cNvPr>
              <p:cNvSpPr/>
              <p:nvPr/>
            </p:nvSpPr>
            <p:spPr>
              <a:xfrm>
                <a:off x="11746305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8" name="Google Shape;1139;p142">
                <a:extLst>
                  <a:ext uri="{FF2B5EF4-FFF2-40B4-BE49-F238E27FC236}">
                    <a16:creationId xmlns:a16="http://schemas.microsoft.com/office/drawing/2014/main" id="{A8C082AA-8053-ACC4-9A68-C4CB47787904}"/>
                  </a:ext>
                </a:extLst>
              </p:cNvPr>
              <p:cNvSpPr/>
              <p:nvPr/>
            </p:nvSpPr>
            <p:spPr>
              <a:xfrm>
                <a:off x="11746305" y="2754020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29" name="Google Shape;1140;p142">
                <a:extLst>
                  <a:ext uri="{FF2B5EF4-FFF2-40B4-BE49-F238E27FC236}">
                    <a16:creationId xmlns:a16="http://schemas.microsoft.com/office/drawing/2014/main" id="{8F13C6F4-4D63-72B2-C267-6CAA48A6C182}"/>
                  </a:ext>
                </a:extLst>
              </p:cNvPr>
              <p:cNvSpPr/>
              <p:nvPr/>
            </p:nvSpPr>
            <p:spPr>
              <a:xfrm>
                <a:off x="11747017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0" name="Google Shape;1141;p142">
                <a:extLst>
                  <a:ext uri="{FF2B5EF4-FFF2-40B4-BE49-F238E27FC236}">
                    <a16:creationId xmlns:a16="http://schemas.microsoft.com/office/drawing/2014/main" id="{3345127F-4ACC-DDC5-B14C-4DE950A4AA4E}"/>
                  </a:ext>
                </a:extLst>
              </p:cNvPr>
              <p:cNvSpPr/>
              <p:nvPr/>
            </p:nvSpPr>
            <p:spPr>
              <a:xfrm>
                <a:off x="11747017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1" name="Google Shape;1142;p142">
                <a:extLst>
                  <a:ext uri="{FF2B5EF4-FFF2-40B4-BE49-F238E27FC236}">
                    <a16:creationId xmlns:a16="http://schemas.microsoft.com/office/drawing/2014/main" id="{8A1847FF-6DDB-BF6C-D786-CFC6D85D9679}"/>
                  </a:ext>
                </a:extLst>
              </p:cNvPr>
              <p:cNvSpPr/>
              <p:nvPr/>
            </p:nvSpPr>
            <p:spPr>
              <a:xfrm>
                <a:off x="11747740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2" name="Google Shape;1143;p142">
                <a:extLst>
                  <a:ext uri="{FF2B5EF4-FFF2-40B4-BE49-F238E27FC236}">
                    <a16:creationId xmlns:a16="http://schemas.microsoft.com/office/drawing/2014/main" id="{2E95EC1B-824D-AD1B-04B9-5DBF2AD1ED03}"/>
                  </a:ext>
                </a:extLst>
              </p:cNvPr>
              <p:cNvSpPr/>
              <p:nvPr/>
            </p:nvSpPr>
            <p:spPr>
              <a:xfrm>
                <a:off x="11747740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3" name="Google Shape;1144;p142">
                <a:extLst>
                  <a:ext uri="{FF2B5EF4-FFF2-40B4-BE49-F238E27FC236}">
                    <a16:creationId xmlns:a16="http://schemas.microsoft.com/office/drawing/2014/main" id="{2E1CEB22-DF45-F11F-A199-28E7ACFD00AF}"/>
                  </a:ext>
                </a:extLst>
              </p:cNvPr>
              <p:cNvSpPr/>
              <p:nvPr/>
            </p:nvSpPr>
            <p:spPr>
              <a:xfrm>
                <a:off x="11747740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4" name="Google Shape;1145;p142">
                <a:extLst>
                  <a:ext uri="{FF2B5EF4-FFF2-40B4-BE49-F238E27FC236}">
                    <a16:creationId xmlns:a16="http://schemas.microsoft.com/office/drawing/2014/main" id="{93BAE57B-06E0-500C-F8EB-AA92A00DFE5F}"/>
                  </a:ext>
                </a:extLst>
              </p:cNvPr>
              <p:cNvSpPr/>
              <p:nvPr/>
            </p:nvSpPr>
            <p:spPr>
              <a:xfrm>
                <a:off x="11748464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5" name="Google Shape;1146;p142">
                <a:extLst>
                  <a:ext uri="{FF2B5EF4-FFF2-40B4-BE49-F238E27FC236}">
                    <a16:creationId xmlns:a16="http://schemas.microsoft.com/office/drawing/2014/main" id="{76C38AE9-94E8-6ECF-8FA6-F906C86AB500}"/>
                  </a:ext>
                </a:extLst>
              </p:cNvPr>
              <p:cNvSpPr/>
              <p:nvPr/>
            </p:nvSpPr>
            <p:spPr>
              <a:xfrm>
                <a:off x="11748464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6" name="Google Shape;1147;p142">
                <a:extLst>
                  <a:ext uri="{FF2B5EF4-FFF2-40B4-BE49-F238E27FC236}">
                    <a16:creationId xmlns:a16="http://schemas.microsoft.com/office/drawing/2014/main" id="{4CD06D24-EA2D-4A4A-F070-6196770BE9F8}"/>
                  </a:ext>
                </a:extLst>
              </p:cNvPr>
              <p:cNvSpPr/>
              <p:nvPr/>
            </p:nvSpPr>
            <p:spPr>
              <a:xfrm>
                <a:off x="11749187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7" name="Google Shape;1148;p142">
                <a:extLst>
                  <a:ext uri="{FF2B5EF4-FFF2-40B4-BE49-F238E27FC236}">
                    <a16:creationId xmlns:a16="http://schemas.microsoft.com/office/drawing/2014/main" id="{59897898-FA86-A81C-F9D8-B73841AC7160}"/>
                  </a:ext>
                </a:extLst>
              </p:cNvPr>
              <p:cNvSpPr/>
              <p:nvPr/>
            </p:nvSpPr>
            <p:spPr>
              <a:xfrm>
                <a:off x="11749187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8" name="Google Shape;1149;p142">
                <a:extLst>
                  <a:ext uri="{FF2B5EF4-FFF2-40B4-BE49-F238E27FC236}">
                    <a16:creationId xmlns:a16="http://schemas.microsoft.com/office/drawing/2014/main" id="{BB389146-224B-6070-1A2B-BE350DF924C2}"/>
                  </a:ext>
                </a:extLst>
              </p:cNvPr>
              <p:cNvSpPr/>
              <p:nvPr/>
            </p:nvSpPr>
            <p:spPr>
              <a:xfrm>
                <a:off x="11749187" y="2754020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9" name="Google Shape;1150;p142">
                <a:extLst>
                  <a:ext uri="{FF2B5EF4-FFF2-40B4-BE49-F238E27FC236}">
                    <a16:creationId xmlns:a16="http://schemas.microsoft.com/office/drawing/2014/main" id="{2F885ACB-8522-DD1C-AC98-D96B725F7287}"/>
                  </a:ext>
                </a:extLst>
              </p:cNvPr>
              <p:cNvSpPr/>
              <p:nvPr/>
            </p:nvSpPr>
            <p:spPr>
              <a:xfrm>
                <a:off x="11749899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0" name="Google Shape;1151;p142">
                <a:extLst>
                  <a:ext uri="{FF2B5EF4-FFF2-40B4-BE49-F238E27FC236}">
                    <a16:creationId xmlns:a16="http://schemas.microsoft.com/office/drawing/2014/main" id="{62242347-8983-A506-83DB-2DDB49605514}"/>
                  </a:ext>
                </a:extLst>
              </p:cNvPr>
              <p:cNvSpPr/>
              <p:nvPr/>
            </p:nvSpPr>
            <p:spPr>
              <a:xfrm>
                <a:off x="11749899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1" name="Google Shape;1152;p142">
                <a:extLst>
                  <a:ext uri="{FF2B5EF4-FFF2-40B4-BE49-F238E27FC236}">
                    <a16:creationId xmlns:a16="http://schemas.microsoft.com/office/drawing/2014/main" id="{88A5D090-09C1-99D8-1867-E1B6B2693BFF}"/>
                  </a:ext>
                </a:extLst>
              </p:cNvPr>
              <p:cNvSpPr/>
              <p:nvPr/>
            </p:nvSpPr>
            <p:spPr>
              <a:xfrm>
                <a:off x="11750623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2" name="Google Shape;1153;p142">
                <a:extLst>
                  <a:ext uri="{FF2B5EF4-FFF2-40B4-BE49-F238E27FC236}">
                    <a16:creationId xmlns:a16="http://schemas.microsoft.com/office/drawing/2014/main" id="{72B9237B-283B-4140-D834-F2B194198435}"/>
                  </a:ext>
                </a:extLst>
              </p:cNvPr>
              <p:cNvSpPr/>
              <p:nvPr/>
            </p:nvSpPr>
            <p:spPr>
              <a:xfrm>
                <a:off x="11750623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3" name="Google Shape;1154;p142">
                <a:extLst>
                  <a:ext uri="{FF2B5EF4-FFF2-40B4-BE49-F238E27FC236}">
                    <a16:creationId xmlns:a16="http://schemas.microsoft.com/office/drawing/2014/main" id="{556EE9CA-26A6-8805-D230-8E920EEFC8CC}"/>
                  </a:ext>
                </a:extLst>
              </p:cNvPr>
              <p:cNvSpPr/>
              <p:nvPr/>
            </p:nvSpPr>
            <p:spPr>
              <a:xfrm>
                <a:off x="11751346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4" name="Google Shape;1155;p142">
                <a:extLst>
                  <a:ext uri="{FF2B5EF4-FFF2-40B4-BE49-F238E27FC236}">
                    <a16:creationId xmlns:a16="http://schemas.microsoft.com/office/drawing/2014/main" id="{C149AA23-70C1-C9E7-31E3-85510FFBB6B6}"/>
                  </a:ext>
                </a:extLst>
              </p:cNvPr>
              <p:cNvSpPr/>
              <p:nvPr/>
            </p:nvSpPr>
            <p:spPr>
              <a:xfrm>
                <a:off x="11751346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5" name="Google Shape;1156;p142">
                <a:extLst>
                  <a:ext uri="{FF2B5EF4-FFF2-40B4-BE49-F238E27FC236}">
                    <a16:creationId xmlns:a16="http://schemas.microsoft.com/office/drawing/2014/main" id="{C696FA71-1D23-3277-69D2-83E54CD771F0}"/>
                  </a:ext>
                </a:extLst>
              </p:cNvPr>
              <p:cNvSpPr/>
              <p:nvPr/>
            </p:nvSpPr>
            <p:spPr>
              <a:xfrm>
                <a:off x="11751346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6" name="Google Shape;1157;p142">
                <a:extLst>
                  <a:ext uri="{FF2B5EF4-FFF2-40B4-BE49-F238E27FC236}">
                    <a16:creationId xmlns:a16="http://schemas.microsoft.com/office/drawing/2014/main" id="{BFCEFD31-7042-D75F-C1C9-0C9281E71FC6}"/>
                  </a:ext>
                </a:extLst>
              </p:cNvPr>
              <p:cNvSpPr/>
              <p:nvPr/>
            </p:nvSpPr>
            <p:spPr>
              <a:xfrm>
                <a:off x="11752070" y="2753297"/>
                <a:ext cx="12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" h="63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7" name="Google Shape;1158;p142">
                <a:extLst>
                  <a:ext uri="{FF2B5EF4-FFF2-40B4-BE49-F238E27FC236}">
                    <a16:creationId xmlns:a16="http://schemas.microsoft.com/office/drawing/2014/main" id="{3CF126C5-ED5C-99E3-DC69-25678FE7CE54}"/>
                  </a:ext>
                </a:extLst>
              </p:cNvPr>
              <p:cNvSpPr/>
              <p:nvPr/>
            </p:nvSpPr>
            <p:spPr>
              <a:xfrm>
                <a:off x="11752070" y="2753297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8" name="Google Shape;1159;p142">
                <a:extLst>
                  <a:ext uri="{FF2B5EF4-FFF2-40B4-BE49-F238E27FC236}">
                    <a16:creationId xmlns:a16="http://schemas.microsoft.com/office/drawing/2014/main" id="{A132B0A6-5C86-BE8E-AA2C-B5E54FE420BB}"/>
                  </a:ext>
                </a:extLst>
              </p:cNvPr>
              <p:cNvSpPr/>
              <p:nvPr/>
            </p:nvSpPr>
            <p:spPr>
              <a:xfrm>
                <a:off x="11752793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9" name="Google Shape;1160;p142">
                <a:extLst>
                  <a:ext uri="{FF2B5EF4-FFF2-40B4-BE49-F238E27FC236}">
                    <a16:creationId xmlns:a16="http://schemas.microsoft.com/office/drawing/2014/main" id="{2EB14953-8ECB-AE34-6A6B-80B61DE135D8}"/>
                  </a:ext>
                </a:extLst>
              </p:cNvPr>
              <p:cNvSpPr/>
              <p:nvPr/>
            </p:nvSpPr>
            <p:spPr>
              <a:xfrm>
                <a:off x="11752793" y="2753297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0" name="Google Shape;1161;p142">
                <a:extLst>
                  <a:ext uri="{FF2B5EF4-FFF2-40B4-BE49-F238E27FC236}">
                    <a16:creationId xmlns:a16="http://schemas.microsoft.com/office/drawing/2014/main" id="{B2FCAB5A-58A4-2350-3B8C-9DAF87D03AB5}"/>
                  </a:ext>
                </a:extLst>
              </p:cNvPr>
              <p:cNvSpPr/>
              <p:nvPr/>
            </p:nvSpPr>
            <p:spPr>
              <a:xfrm>
                <a:off x="1175350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1" name="Google Shape;1162;p142">
                <a:extLst>
                  <a:ext uri="{FF2B5EF4-FFF2-40B4-BE49-F238E27FC236}">
                    <a16:creationId xmlns:a16="http://schemas.microsoft.com/office/drawing/2014/main" id="{AEB163E3-5F30-3C6F-F780-8CE8C4B03F11}"/>
                  </a:ext>
                </a:extLst>
              </p:cNvPr>
              <p:cNvSpPr/>
              <p:nvPr/>
            </p:nvSpPr>
            <p:spPr>
              <a:xfrm>
                <a:off x="1175350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2" name="Google Shape;1163;p142">
                <a:extLst>
                  <a:ext uri="{FF2B5EF4-FFF2-40B4-BE49-F238E27FC236}">
                    <a16:creationId xmlns:a16="http://schemas.microsoft.com/office/drawing/2014/main" id="{D5F121BD-698A-A306-C40E-9A29FC1359CE}"/>
                  </a:ext>
                </a:extLst>
              </p:cNvPr>
              <p:cNvSpPr/>
              <p:nvPr/>
            </p:nvSpPr>
            <p:spPr>
              <a:xfrm>
                <a:off x="11754228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3" name="Google Shape;1164;p142">
                <a:extLst>
                  <a:ext uri="{FF2B5EF4-FFF2-40B4-BE49-F238E27FC236}">
                    <a16:creationId xmlns:a16="http://schemas.microsoft.com/office/drawing/2014/main" id="{C4267AEE-BBEA-6BF7-A703-582101A15797}"/>
                  </a:ext>
                </a:extLst>
              </p:cNvPr>
              <p:cNvSpPr/>
              <p:nvPr/>
            </p:nvSpPr>
            <p:spPr>
              <a:xfrm>
                <a:off x="11754228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4" name="Google Shape;1165;p142">
                <a:extLst>
                  <a:ext uri="{FF2B5EF4-FFF2-40B4-BE49-F238E27FC236}">
                    <a16:creationId xmlns:a16="http://schemas.microsoft.com/office/drawing/2014/main" id="{0201FACC-59AB-7A62-F04B-4190F759FAA5}"/>
                  </a:ext>
                </a:extLst>
              </p:cNvPr>
              <p:cNvSpPr/>
              <p:nvPr/>
            </p:nvSpPr>
            <p:spPr>
              <a:xfrm>
                <a:off x="11754228" y="2753297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5" name="Google Shape;1166;p142">
                <a:extLst>
                  <a:ext uri="{FF2B5EF4-FFF2-40B4-BE49-F238E27FC236}">
                    <a16:creationId xmlns:a16="http://schemas.microsoft.com/office/drawing/2014/main" id="{8B200870-D8A7-3987-8BC4-4C7082061585}"/>
                  </a:ext>
                </a:extLst>
              </p:cNvPr>
              <p:cNvSpPr/>
              <p:nvPr/>
            </p:nvSpPr>
            <p:spPr>
              <a:xfrm>
                <a:off x="11754952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6" name="Google Shape;1167;p142">
                <a:extLst>
                  <a:ext uri="{FF2B5EF4-FFF2-40B4-BE49-F238E27FC236}">
                    <a16:creationId xmlns:a16="http://schemas.microsoft.com/office/drawing/2014/main" id="{2903317F-42B0-B603-9FA9-CE304F03C923}"/>
                  </a:ext>
                </a:extLst>
              </p:cNvPr>
              <p:cNvSpPr/>
              <p:nvPr/>
            </p:nvSpPr>
            <p:spPr>
              <a:xfrm>
                <a:off x="1175567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7" name="Google Shape;1168;p142">
                <a:extLst>
                  <a:ext uri="{FF2B5EF4-FFF2-40B4-BE49-F238E27FC236}">
                    <a16:creationId xmlns:a16="http://schemas.microsoft.com/office/drawing/2014/main" id="{9361C21E-FED3-B985-4158-C82EF99ABDC6}"/>
                  </a:ext>
                </a:extLst>
              </p:cNvPr>
              <p:cNvSpPr/>
              <p:nvPr/>
            </p:nvSpPr>
            <p:spPr>
              <a:xfrm>
                <a:off x="1175567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8" name="Google Shape;1169;p142">
                <a:extLst>
                  <a:ext uri="{FF2B5EF4-FFF2-40B4-BE49-F238E27FC236}">
                    <a16:creationId xmlns:a16="http://schemas.microsoft.com/office/drawing/2014/main" id="{C3E61E41-7045-24CE-531A-4181AE16D126}"/>
                  </a:ext>
                </a:extLst>
              </p:cNvPr>
              <p:cNvSpPr/>
              <p:nvPr/>
            </p:nvSpPr>
            <p:spPr>
              <a:xfrm>
                <a:off x="1175567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9" name="Google Shape;1170;p142">
                <a:extLst>
                  <a:ext uri="{FF2B5EF4-FFF2-40B4-BE49-F238E27FC236}">
                    <a16:creationId xmlns:a16="http://schemas.microsoft.com/office/drawing/2014/main" id="{EDA023CD-689C-DCDB-9AFF-6F494CEED85C}"/>
                  </a:ext>
                </a:extLst>
              </p:cNvPr>
              <p:cNvSpPr/>
              <p:nvPr/>
            </p:nvSpPr>
            <p:spPr>
              <a:xfrm>
                <a:off x="11756387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0" name="Google Shape;1171;p142">
                <a:extLst>
                  <a:ext uri="{FF2B5EF4-FFF2-40B4-BE49-F238E27FC236}">
                    <a16:creationId xmlns:a16="http://schemas.microsoft.com/office/drawing/2014/main" id="{E1BD4EF0-94CB-17A2-A887-D126A89140D0}"/>
                  </a:ext>
                </a:extLst>
              </p:cNvPr>
              <p:cNvSpPr/>
              <p:nvPr/>
            </p:nvSpPr>
            <p:spPr>
              <a:xfrm>
                <a:off x="11756387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1" name="Google Shape;1172;p142">
                <a:extLst>
                  <a:ext uri="{FF2B5EF4-FFF2-40B4-BE49-F238E27FC236}">
                    <a16:creationId xmlns:a16="http://schemas.microsoft.com/office/drawing/2014/main" id="{73CD1C03-24E4-B8CE-3A01-F92350B2509A}"/>
                  </a:ext>
                </a:extLst>
              </p:cNvPr>
              <p:cNvSpPr/>
              <p:nvPr/>
            </p:nvSpPr>
            <p:spPr>
              <a:xfrm>
                <a:off x="11757111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2" name="Google Shape;1173;p142">
                <a:extLst>
                  <a:ext uri="{FF2B5EF4-FFF2-40B4-BE49-F238E27FC236}">
                    <a16:creationId xmlns:a16="http://schemas.microsoft.com/office/drawing/2014/main" id="{72EE6A4E-94BC-C0B6-A74D-B7C76758BC82}"/>
                  </a:ext>
                </a:extLst>
              </p:cNvPr>
              <p:cNvSpPr/>
              <p:nvPr/>
            </p:nvSpPr>
            <p:spPr>
              <a:xfrm>
                <a:off x="11757111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3" name="Google Shape;1174;p142">
                <a:extLst>
                  <a:ext uri="{FF2B5EF4-FFF2-40B4-BE49-F238E27FC236}">
                    <a16:creationId xmlns:a16="http://schemas.microsoft.com/office/drawing/2014/main" id="{68060BCB-54FE-CF7B-2572-D930632F2384}"/>
                  </a:ext>
                </a:extLst>
              </p:cNvPr>
              <p:cNvSpPr/>
              <p:nvPr/>
            </p:nvSpPr>
            <p:spPr>
              <a:xfrm>
                <a:off x="11757834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4" name="Google Shape;1175;p142">
                <a:extLst>
                  <a:ext uri="{FF2B5EF4-FFF2-40B4-BE49-F238E27FC236}">
                    <a16:creationId xmlns:a16="http://schemas.microsoft.com/office/drawing/2014/main" id="{C288E0F4-EFAE-7A80-1E83-FF92DEDBA05E}"/>
                  </a:ext>
                </a:extLst>
              </p:cNvPr>
              <p:cNvSpPr/>
              <p:nvPr/>
            </p:nvSpPr>
            <p:spPr>
              <a:xfrm>
                <a:off x="11757834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5" name="Google Shape;1176;p142">
                <a:extLst>
                  <a:ext uri="{FF2B5EF4-FFF2-40B4-BE49-F238E27FC236}">
                    <a16:creationId xmlns:a16="http://schemas.microsoft.com/office/drawing/2014/main" id="{C57A2672-9C6F-CE2D-9430-34960A293B1A}"/>
                  </a:ext>
                </a:extLst>
              </p:cNvPr>
              <p:cNvSpPr/>
              <p:nvPr/>
            </p:nvSpPr>
            <p:spPr>
              <a:xfrm>
                <a:off x="11757834" y="2752585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6" name="Google Shape;1177;p142">
                <a:extLst>
                  <a:ext uri="{FF2B5EF4-FFF2-40B4-BE49-F238E27FC236}">
                    <a16:creationId xmlns:a16="http://schemas.microsoft.com/office/drawing/2014/main" id="{9C33EFD8-30DD-5FEA-EBF3-17F463B92A9A}"/>
                  </a:ext>
                </a:extLst>
              </p:cNvPr>
              <p:cNvSpPr/>
              <p:nvPr/>
            </p:nvSpPr>
            <p:spPr>
              <a:xfrm>
                <a:off x="11758558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7" name="Google Shape;1178;p142">
                <a:extLst>
                  <a:ext uri="{FF2B5EF4-FFF2-40B4-BE49-F238E27FC236}">
                    <a16:creationId xmlns:a16="http://schemas.microsoft.com/office/drawing/2014/main" id="{B0CC111F-A910-02FC-DC02-4C3D5BFEF55D}"/>
                  </a:ext>
                </a:extLst>
              </p:cNvPr>
              <p:cNvSpPr/>
              <p:nvPr/>
            </p:nvSpPr>
            <p:spPr>
              <a:xfrm>
                <a:off x="11758558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8" name="Google Shape;1179;p142">
                <a:extLst>
                  <a:ext uri="{FF2B5EF4-FFF2-40B4-BE49-F238E27FC236}">
                    <a16:creationId xmlns:a16="http://schemas.microsoft.com/office/drawing/2014/main" id="{608845A2-6424-FC81-8ADA-13A8A2E7D919}"/>
                  </a:ext>
                </a:extLst>
              </p:cNvPr>
              <p:cNvSpPr/>
              <p:nvPr/>
            </p:nvSpPr>
            <p:spPr>
              <a:xfrm>
                <a:off x="11758558" y="2752585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9" name="Google Shape;1180;p142">
                <a:extLst>
                  <a:ext uri="{FF2B5EF4-FFF2-40B4-BE49-F238E27FC236}">
                    <a16:creationId xmlns:a16="http://schemas.microsoft.com/office/drawing/2014/main" id="{B87D140C-32BC-97AB-2778-D52DD2F4A207}"/>
                  </a:ext>
                </a:extLst>
              </p:cNvPr>
              <p:cNvSpPr/>
              <p:nvPr/>
            </p:nvSpPr>
            <p:spPr>
              <a:xfrm>
                <a:off x="11759270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0" name="Google Shape;1181;p142">
                <a:extLst>
                  <a:ext uri="{FF2B5EF4-FFF2-40B4-BE49-F238E27FC236}">
                    <a16:creationId xmlns:a16="http://schemas.microsoft.com/office/drawing/2014/main" id="{071403DC-D419-19DD-A696-41D1F3B788BC}"/>
                  </a:ext>
                </a:extLst>
              </p:cNvPr>
              <p:cNvSpPr/>
              <p:nvPr/>
            </p:nvSpPr>
            <p:spPr>
              <a:xfrm>
                <a:off x="11759270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1" name="Google Shape;1182;p142">
                <a:extLst>
                  <a:ext uri="{FF2B5EF4-FFF2-40B4-BE49-F238E27FC236}">
                    <a16:creationId xmlns:a16="http://schemas.microsoft.com/office/drawing/2014/main" id="{BC50D9EB-C8DA-C35D-5571-A2F97A88D442}"/>
                  </a:ext>
                </a:extLst>
              </p:cNvPr>
              <p:cNvSpPr/>
              <p:nvPr/>
            </p:nvSpPr>
            <p:spPr>
              <a:xfrm>
                <a:off x="11759270" y="2752585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0"/>
                    </a:moveTo>
                    <a:lnTo>
                      <a:pt x="6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2" name="Google Shape;1183;p142">
                <a:extLst>
                  <a:ext uri="{FF2B5EF4-FFF2-40B4-BE49-F238E27FC236}">
                    <a16:creationId xmlns:a16="http://schemas.microsoft.com/office/drawing/2014/main" id="{6E289EC8-25A5-82D6-44D4-E8EC3CEACC0F}"/>
                  </a:ext>
                </a:extLst>
              </p:cNvPr>
              <p:cNvSpPr/>
              <p:nvPr/>
            </p:nvSpPr>
            <p:spPr>
              <a:xfrm>
                <a:off x="11759993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3" name="Google Shape;1184;p142">
                <a:extLst>
                  <a:ext uri="{FF2B5EF4-FFF2-40B4-BE49-F238E27FC236}">
                    <a16:creationId xmlns:a16="http://schemas.microsoft.com/office/drawing/2014/main" id="{B4EB0C64-9299-D569-3878-6E7ED1EFD5DB}"/>
                  </a:ext>
                </a:extLst>
              </p:cNvPr>
              <p:cNvSpPr/>
              <p:nvPr/>
            </p:nvSpPr>
            <p:spPr>
              <a:xfrm>
                <a:off x="11759993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4" name="Google Shape;1185;p142">
                <a:extLst>
                  <a:ext uri="{FF2B5EF4-FFF2-40B4-BE49-F238E27FC236}">
                    <a16:creationId xmlns:a16="http://schemas.microsoft.com/office/drawing/2014/main" id="{50134E1D-686A-8102-AF09-49AF0AB40B82}"/>
                  </a:ext>
                </a:extLst>
              </p:cNvPr>
              <p:cNvSpPr/>
              <p:nvPr/>
            </p:nvSpPr>
            <p:spPr>
              <a:xfrm>
                <a:off x="11760717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5" name="Google Shape;1186;p142">
                <a:extLst>
                  <a:ext uri="{FF2B5EF4-FFF2-40B4-BE49-F238E27FC236}">
                    <a16:creationId xmlns:a16="http://schemas.microsoft.com/office/drawing/2014/main" id="{7A9054B2-61CD-B769-E866-D336BD0E220B}"/>
                  </a:ext>
                </a:extLst>
              </p:cNvPr>
              <p:cNvSpPr/>
              <p:nvPr/>
            </p:nvSpPr>
            <p:spPr>
              <a:xfrm>
                <a:off x="11760717" y="2752585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6" name="Google Shape;1187;p142">
                <a:extLst>
                  <a:ext uri="{FF2B5EF4-FFF2-40B4-BE49-F238E27FC236}">
                    <a16:creationId xmlns:a16="http://schemas.microsoft.com/office/drawing/2014/main" id="{CAB9FB88-7B78-E417-F73A-DD210E0DA0DF}"/>
                  </a:ext>
                </a:extLst>
              </p:cNvPr>
              <p:cNvSpPr/>
              <p:nvPr/>
            </p:nvSpPr>
            <p:spPr>
              <a:xfrm>
                <a:off x="11761440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7" name="Google Shape;1188;p142">
                <a:extLst>
                  <a:ext uri="{FF2B5EF4-FFF2-40B4-BE49-F238E27FC236}">
                    <a16:creationId xmlns:a16="http://schemas.microsoft.com/office/drawing/2014/main" id="{F3B96243-ACE0-C478-FB71-A79334FE76EB}"/>
                  </a:ext>
                </a:extLst>
              </p:cNvPr>
              <p:cNvSpPr/>
              <p:nvPr/>
            </p:nvSpPr>
            <p:spPr>
              <a:xfrm>
                <a:off x="11761440" y="2751862"/>
                <a:ext cx="12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" h="63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8" name="Google Shape;1189;p142">
                <a:extLst>
                  <a:ext uri="{FF2B5EF4-FFF2-40B4-BE49-F238E27FC236}">
                    <a16:creationId xmlns:a16="http://schemas.microsoft.com/office/drawing/2014/main" id="{DDC97F61-2FF6-09BD-C279-114E3EF613F1}"/>
                  </a:ext>
                </a:extLst>
              </p:cNvPr>
              <p:cNvSpPr/>
              <p:nvPr/>
            </p:nvSpPr>
            <p:spPr>
              <a:xfrm>
                <a:off x="11762164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9" name="Google Shape;1190;p142">
                <a:extLst>
                  <a:ext uri="{FF2B5EF4-FFF2-40B4-BE49-F238E27FC236}">
                    <a16:creationId xmlns:a16="http://schemas.microsoft.com/office/drawing/2014/main" id="{B7353FA5-DCC6-0822-86A4-5609D1C3E62E}"/>
                  </a:ext>
                </a:extLst>
              </p:cNvPr>
              <p:cNvSpPr/>
              <p:nvPr/>
            </p:nvSpPr>
            <p:spPr>
              <a:xfrm>
                <a:off x="11762164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0" name="Google Shape;1191;p142">
                <a:extLst>
                  <a:ext uri="{FF2B5EF4-FFF2-40B4-BE49-F238E27FC236}">
                    <a16:creationId xmlns:a16="http://schemas.microsoft.com/office/drawing/2014/main" id="{36830F38-821F-FDC6-92AC-7EDFD461BF38}"/>
                  </a:ext>
                </a:extLst>
              </p:cNvPr>
              <p:cNvSpPr/>
              <p:nvPr/>
            </p:nvSpPr>
            <p:spPr>
              <a:xfrm>
                <a:off x="11762164" y="2751862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1" name="Google Shape;1192;p142">
                <a:extLst>
                  <a:ext uri="{FF2B5EF4-FFF2-40B4-BE49-F238E27FC236}">
                    <a16:creationId xmlns:a16="http://schemas.microsoft.com/office/drawing/2014/main" id="{F77C6315-7FFF-E841-6502-367C7DBD558D}"/>
                  </a:ext>
                </a:extLst>
              </p:cNvPr>
              <p:cNvSpPr/>
              <p:nvPr/>
            </p:nvSpPr>
            <p:spPr>
              <a:xfrm>
                <a:off x="11762876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2" name="Google Shape;1193;p142">
                <a:extLst>
                  <a:ext uri="{FF2B5EF4-FFF2-40B4-BE49-F238E27FC236}">
                    <a16:creationId xmlns:a16="http://schemas.microsoft.com/office/drawing/2014/main" id="{00A78743-37F1-D5BF-C3D8-CFD404E70B78}"/>
                  </a:ext>
                </a:extLst>
              </p:cNvPr>
              <p:cNvSpPr/>
              <p:nvPr/>
            </p:nvSpPr>
            <p:spPr>
              <a:xfrm>
                <a:off x="11762876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3" name="Google Shape;1194;p142">
                <a:extLst>
                  <a:ext uri="{FF2B5EF4-FFF2-40B4-BE49-F238E27FC236}">
                    <a16:creationId xmlns:a16="http://schemas.microsoft.com/office/drawing/2014/main" id="{5CC5FE56-5C8F-2614-B16F-82355115F820}"/>
                  </a:ext>
                </a:extLst>
              </p:cNvPr>
              <p:cNvSpPr/>
              <p:nvPr/>
            </p:nvSpPr>
            <p:spPr>
              <a:xfrm>
                <a:off x="11762876" y="275186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0"/>
                    </a:moveTo>
                    <a:lnTo>
                      <a:pt x="6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4" name="Google Shape;1195;p142">
                <a:extLst>
                  <a:ext uri="{FF2B5EF4-FFF2-40B4-BE49-F238E27FC236}">
                    <a16:creationId xmlns:a16="http://schemas.microsoft.com/office/drawing/2014/main" id="{9BEA23A0-02EB-6D9C-0DDD-9B7F85660759}"/>
                  </a:ext>
                </a:extLst>
              </p:cNvPr>
              <p:cNvSpPr/>
              <p:nvPr/>
            </p:nvSpPr>
            <p:spPr>
              <a:xfrm>
                <a:off x="11763599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5" name="Google Shape;1196;p142">
                <a:extLst>
                  <a:ext uri="{FF2B5EF4-FFF2-40B4-BE49-F238E27FC236}">
                    <a16:creationId xmlns:a16="http://schemas.microsoft.com/office/drawing/2014/main" id="{27952F44-9E7F-F9A4-94C8-FE9523A9DC3C}"/>
                  </a:ext>
                </a:extLst>
              </p:cNvPr>
              <p:cNvSpPr/>
              <p:nvPr/>
            </p:nvSpPr>
            <p:spPr>
              <a:xfrm>
                <a:off x="11763599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6" name="Google Shape;1197;p142">
                <a:extLst>
                  <a:ext uri="{FF2B5EF4-FFF2-40B4-BE49-F238E27FC236}">
                    <a16:creationId xmlns:a16="http://schemas.microsoft.com/office/drawing/2014/main" id="{CEB1790E-3995-904E-DC59-8006F3A900A8}"/>
                  </a:ext>
                </a:extLst>
              </p:cNvPr>
              <p:cNvSpPr/>
              <p:nvPr/>
            </p:nvSpPr>
            <p:spPr>
              <a:xfrm>
                <a:off x="11763599" y="275186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7" name="Google Shape;1198;p142">
                <a:extLst>
                  <a:ext uri="{FF2B5EF4-FFF2-40B4-BE49-F238E27FC236}">
                    <a16:creationId xmlns:a16="http://schemas.microsoft.com/office/drawing/2014/main" id="{DB49FFAF-C4A3-FA72-7230-5935658420BF}"/>
                  </a:ext>
                </a:extLst>
              </p:cNvPr>
              <p:cNvSpPr/>
              <p:nvPr/>
            </p:nvSpPr>
            <p:spPr>
              <a:xfrm>
                <a:off x="11764323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8" name="Google Shape;1199;p142">
                <a:extLst>
                  <a:ext uri="{FF2B5EF4-FFF2-40B4-BE49-F238E27FC236}">
                    <a16:creationId xmlns:a16="http://schemas.microsoft.com/office/drawing/2014/main" id="{38EB012E-E97E-1B4B-1867-CBD6E6E185D3}"/>
                  </a:ext>
                </a:extLst>
              </p:cNvPr>
              <p:cNvSpPr/>
              <p:nvPr/>
            </p:nvSpPr>
            <p:spPr>
              <a:xfrm>
                <a:off x="11764323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89" name="Google Shape;1200;p142">
                <a:extLst>
                  <a:ext uri="{FF2B5EF4-FFF2-40B4-BE49-F238E27FC236}">
                    <a16:creationId xmlns:a16="http://schemas.microsoft.com/office/drawing/2014/main" id="{3CB3555D-2FAC-9269-9075-32CB0F9BAC29}"/>
                  </a:ext>
                </a:extLst>
              </p:cNvPr>
              <p:cNvSpPr/>
              <p:nvPr/>
            </p:nvSpPr>
            <p:spPr>
              <a:xfrm>
                <a:off x="11765046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0" name="Google Shape;1201;p142">
                <a:extLst>
                  <a:ext uri="{FF2B5EF4-FFF2-40B4-BE49-F238E27FC236}">
                    <a16:creationId xmlns:a16="http://schemas.microsoft.com/office/drawing/2014/main" id="{8725845B-5BEF-231A-B871-53DAC335DD88}"/>
                  </a:ext>
                </a:extLst>
              </p:cNvPr>
              <p:cNvSpPr/>
              <p:nvPr/>
            </p:nvSpPr>
            <p:spPr>
              <a:xfrm>
                <a:off x="11765046" y="2751138"/>
                <a:ext cx="12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" h="63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1" name="Google Shape;1202;p142">
                <a:extLst>
                  <a:ext uri="{FF2B5EF4-FFF2-40B4-BE49-F238E27FC236}">
                    <a16:creationId xmlns:a16="http://schemas.microsoft.com/office/drawing/2014/main" id="{14957ACC-15E8-248D-E36C-C91328C598BE}"/>
                  </a:ext>
                </a:extLst>
              </p:cNvPr>
              <p:cNvSpPr/>
              <p:nvPr/>
            </p:nvSpPr>
            <p:spPr>
              <a:xfrm>
                <a:off x="11765046" y="2751138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2" name="Google Shape;1203;p142">
                <a:extLst>
                  <a:ext uri="{FF2B5EF4-FFF2-40B4-BE49-F238E27FC236}">
                    <a16:creationId xmlns:a16="http://schemas.microsoft.com/office/drawing/2014/main" id="{17F0C609-2CE7-9DB7-0EB4-662A50DDBC6A}"/>
                  </a:ext>
                </a:extLst>
              </p:cNvPr>
              <p:cNvSpPr/>
              <p:nvPr/>
            </p:nvSpPr>
            <p:spPr>
              <a:xfrm>
                <a:off x="11765758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3" name="Google Shape;1204;p142">
                <a:extLst>
                  <a:ext uri="{FF2B5EF4-FFF2-40B4-BE49-F238E27FC236}">
                    <a16:creationId xmlns:a16="http://schemas.microsoft.com/office/drawing/2014/main" id="{3C53C230-7361-E36A-F0CC-B1F055E15DDE}"/>
                  </a:ext>
                </a:extLst>
              </p:cNvPr>
              <p:cNvSpPr/>
              <p:nvPr/>
            </p:nvSpPr>
            <p:spPr>
              <a:xfrm>
                <a:off x="11765758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4" name="Google Shape;1205;p142">
                <a:extLst>
                  <a:ext uri="{FF2B5EF4-FFF2-40B4-BE49-F238E27FC236}">
                    <a16:creationId xmlns:a16="http://schemas.microsoft.com/office/drawing/2014/main" id="{0C2041C8-7DBF-9E72-3E74-61D5D32B04F1}"/>
                  </a:ext>
                </a:extLst>
              </p:cNvPr>
              <p:cNvSpPr/>
              <p:nvPr/>
            </p:nvSpPr>
            <p:spPr>
              <a:xfrm>
                <a:off x="11765758" y="2751138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5" name="Google Shape;1206;p142">
                <a:extLst>
                  <a:ext uri="{FF2B5EF4-FFF2-40B4-BE49-F238E27FC236}">
                    <a16:creationId xmlns:a16="http://schemas.microsoft.com/office/drawing/2014/main" id="{EFFE0AD5-3019-E15A-4D97-5DE7F7D2567B}"/>
                  </a:ext>
                </a:extLst>
              </p:cNvPr>
              <p:cNvSpPr/>
              <p:nvPr/>
            </p:nvSpPr>
            <p:spPr>
              <a:xfrm>
                <a:off x="11766481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6" name="Google Shape;1207;p142">
                <a:extLst>
                  <a:ext uri="{FF2B5EF4-FFF2-40B4-BE49-F238E27FC236}">
                    <a16:creationId xmlns:a16="http://schemas.microsoft.com/office/drawing/2014/main" id="{48C44040-72A4-9E74-69E1-AC90EBA7E40F}"/>
                  </a:ext>
                </a:extLst>
              </p:cNvPr>
              <p:cNvSpPr/>
              <p:nvPr/>
            </p:nvSpPr>
            <p:spPr>
              <a:xfrm>
                <a:off x="11766481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7" name="Google Shape;1208;p142">
                <a:extLst>
                  <a:ext uri="{FF2B5EF4-FFF2-40B4-BE49-F238E27FC236}">
                    <a16:creationId xmlns:a16="http://schemas.microsoft.com/office/drawing/2014/main" id="{972BE624-5406-0C39-6CA7-413B4FD8F2BB}"/>
                  </a:ext>
                </a:extLst>
              </p:cNvPr>
              <p:cNvSpPr/>
              <p:nvPr/>
            </p:nvSpPr>
            <p:spPr>
              <a:xfrm>
                <a:off x="11766481" y="2751138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8" name="Google Shape;1209;p142">
                <a:extLst>
                  <a:ext uri="{FF2B5EF4-FFF2-40B4-BE49-F238E27FC236}">
                    <a16:creationId xmlns:a16="http://schemas.microsoft.com/office/drawing/2014/main" id="{7B0F0D14-E5D9-D1DE-6E96-A7F0D66F16A6}"/>
                  </a:ext>
                </a:extLst>
              </p:cNvPr>
              <p:cNvSpPr/>
              <p:nvPr/>
            </p:nvSpPr>
            <p:spPr>
              <a:xfrm>
                <a:off x="11767205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99" name="Google Shape;1210;p142">
                <a:extLst>
                  <a:ext uri="{FF2B5EF4-FFF2-40B4-BE49-F238E27FC236}">
                    <a16:creationId xmlns:a16="http://schemas.microsoft.com/office/drawing/2014/main" id="{8D2DCB03-2454-F44B-DFCD-39DF4F594B6D}"/>
                  </a:ext>
                </a:extLst>
              </p:cNvPr>
              <p:cNvSpPr/>
              <p:nvPr/>
            </p:nvSpPr>
            <p:spPr>
              <a:xfrm>
                <a:off x="11767205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0" name="Google Shape;1211;p142">
                <a:extLst>
                  <a:ext uri="{FF2B5EF4-FFF2-40B4-BE49-F238E27FC236}">
                    <a16:creationId xmlns:a16="http://schemas.microsoft.com/office/drawing/2014/main" id="{7F9BE656-8069-E82F-40FD-237027114AC1}"/>
                  </a:ext>
                </a:extLst>
              </p:cNvPr>
              <p:cNvSpPr/>
              <p:nvPr/>
            </p:nvSpPr>
            <p:spPr>
              <a:xfrm>
                <a:off x="11767205" y="2751138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1" name="Google Shape;1212;p142">
                <a:extLst>
                  <a:ext uri="{FF2B5EF4-FFF2-40B4-BE49-F238E27FC236}">
                    <a16:creationId xmlns:a16="http://schemas.microsoft.com/office/drawing/2014/main" id="{21408E9B-755F-0476-74FF-155F58331F5F}"/>
                  </a:ext>
                </a:extLst>
              </p:cNvPr>
              <p:cNvSpPr/>
              <p:nvPr/>
            </p:nvSpPr>
            <p:spPr>
              <a:xfrm>
                <a:off x="11767928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2" name="Google Shape;1213;p142">
                <a:extLst>
                  <a:ext uri="{FF2B5EF4-FFF2-40B4-BE49-F238E27FC236}">
                    <a16:creationId xmlns:a16="http://schemas.microsoft.com/office/drawing/2014/main" id="{186B961B-97F2-CB17-A8D4-586E557BF446}"/>
                  </a:ext>
                </a:extLst>
              </p:cNvPr>
              <p:cNvSpPr/>
              <p:nvPr/>
            </p:nvSpPr>
            <p:spPr>
              <a:xfrm>
                <a:off x="11767928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3" name="Google Shape;1214;p142">
                <a:extLst>
                  <a:ext uri="{FF2B5EF4-FFF2-40B4-BE49-F238E27FC236}">
                    <a16:creationId xmlns:a16="http://schemas.microsoft.com/office/drawing/2014/main" id="{CD96D5F3-B44E-71CF-851E-5C5D7898591A}"/>
                  </a:ext>
                </a:extLst>
              </p:cNvPr>
              <p:cNvSpPr/>
              <p:nvPr/>
            </p:nvSpPr>
            <p:spPr>
              <a:xfrm>
                <a:off x="11767928" y="2751138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4" name="Google Shape;1215;p142">
                <a:extLst>
                  <a:ext uri="{FF2B5EF4-FFF2-40B4-BE49-F238E27FC236}">
                    <a16:creationId xmlns:a16="http://schemas.microsoft.com/office/drawing/2014/main" id="{1012184E-648F-180C-0454-CF83CE28C40B}"/>
                  </a:ext>
                </a:extLst>
              </p:cNvPr>
              <p:cNvSpPr/>
              <p:nvPr/>
            </p:nvSpPr>
            <p:spPr>
              <a:xfrm>
                <a:off x="11768640" y="2750415"/>
                <a:ext cx="12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" h="63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63"/>
                    </a:lnTo>
                    <a:lnTo>
                      <a:pt x="1" y="63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5" name="Google Shape;1216;p142">
                <a:extLst>
                  <a:ext uri="{FF2B5EF4-FFF2-40B4-BE49-F238E27FC236}">
                    <a16:creationId xmlns:a16="http://schemas.microsoft.com/office/drawing/2014/main" id="{CF8137E8-780A-195C-AACA-46E7EFD19E3C}"/>
                  </a:ext>
                </a:extLst>
              </p:cNvPr>
              <p:cNvSpPr/>
              <p:nvPr/>
            </p:nvSpPr>
            <p:spPr>
              <a:xfrm>
                <a:off x="11768640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6" name="Google Shape;1217;p142">
                <a:extLst>
                  <a:ext uri="{FF2B5EF4-FFF2-40B4-BE49-F238E27FC236}">
                    <a16:creationId xmlns:a16="http://schemas.microsoft.com/office/drawing/2014/main" id="{E04B9E1B-1092-713F-11CF-82056EF2C30F}"/>
                  </a:ext>
                </a:extLst>
              </p:cNvPr>
              <p:cNvSpPr/>
              <p:nvPr/>
            </p:nvSpPr>
            <p:spPr>
              <a:xfrm>
                <a:off x="11768640" y="2750415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7" name="Google Shape;1218;p142">
                <a:extLst>
                  <a:ext uri="{FF2B5EF4-FFF2-40B4-BE49-F238E27FC236}">
                    <a16:creationId xmlns:a16="http://schemas.microsoft.com/office/drawing/2014/main" id="{C3135F90-58F6-5A44-5C3B-1792B0A3D178}"/>
                  </a:ext>
                </a:extLst>
              </p:cNvPr>
              <p:cNvSpPr/>
              <p:nvPr/>
            </p:nvSpPr>
            <p:spPr>
              <a:xfrm>
                <a:off x="11769364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8" name="Google Shape;1219;p142">
                <a:extLst>
                  <a:ext uri="{FF2B5EF4-FFF2-40B4-BE49-F238E27FC236}">
                    <a16:creationId xmlns:a16="http://schemas.microsoft.com/office/drawing/2014/main" id="{C11D8965-5ECF-DDD2-9973-FF349BCCF08E}"/>
                  </a:ext>
                </a:extLst>
              </p:cNvPr>
              <p:cNvSpPr/>
              <p:nvPr/>
            </p:nvSpPr>
            <p:spPr>
              <a:xfrm>
                <a:off x="11769364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9" name="Google Shape;1220;p142">
                <a:extLst>
                  <a:ext uri="{FF2B5EF4-FFF2-40B4-BE49-F238E27FC236}">
                    <a16:creationId xmlns:a16="http://schemas.microsoft.com/office/drawing/2014/main" id="{F9E35D4A-EB30-6CF9-0B3F-BCC3C69C03E4}"/>
                  </a:ext>
                </a:extLst>
              </p:cNvPr>
              <p:cNvSpPr/>
              <p:nvPr/>
            </p:nvSpPr>
            <p:spPr>
              <a:xfrm>
                <a:off x="11769364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0" name="Google Shape;1221;p142">
                <a:extLst>
                  <a:ext uri="{FF2B5EF4-FFF2-40B4-BE49-F238E27FC236}">
                    <a16:creationId xmlns:a16="http://schemas.microsoft.com/office/drawing/2014/main" id="{C0FC75EB-1EDD-75BE-E498-9CEC4FA21CE8}"/>
                  </a:ext>
                </a:extLst>
              </p:cNvPr>
              <p:cNvSpPr/>
              <p:nvPr/>
            </p:nvSpPr>
            <p:spPr>
              <a:xfrm>
                <a:off x="11770087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1" name="Google Shape;1222;p142">
                <a:extLst>
                  <a:ext uri="{FF2B5EF4-FFF2-40B4-BE49-F238E27FC236}">
                    <a16:creationId xmlns:a16="http://schemas.microsoft.com/office/drawing/2014/main" id="{61947621-BB43-EB32-AEC6-D815FABC1CBD}"/>
                  </a:ext>
                </a:extLst>
              </p:cNvPr>
              <p:cNvSpPr/>
              <p:nvPr/>
            </p:nvSpPr>
            <p:spPr>
              <a:xfrm>
                <a:off x="11770087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2" name="Google Shape;1223;p142">
                <a:extLst>
                  <a:ext uri="{FF2B5EF4-FFF2-40B4-BE49-F238E27FC236}">
                    <a16:creationId xmlns:a16="http://schemas.microsoft.com/office/drawing/2014/main" id="{0826803A-D24A-325A-84E8-AE146807EF57}"/>
                  </a:ext>
                </a:extLst>
              </p:cNvPr>
              <p:cNvSpPr/>
              <p:nvPr/>
            </p:nvSpPr>
            <p:spPr>
              <a:xfrm>
                <a:off x="11770087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3" name="Google Shape;1224;p142">
                <a:extLst>
                  <a:ext uri="{FF2B5EF4-FFF2-40B4-BE49-F238E27FC236}">
                    <a16:creationId xmlns:a16="http://schemas.microsoft.com/office/drawing/2014/main" id="{9BFBD83D-1B36-E191-5478-7FCB6B8A2BDE}"/>
                  </a:ext>
                </a:extLst>
              </p:cNvPr>
              <p:cNvSpPr/>
              <p:nvPr/>
            </p:nvSpPr>
            <p:spPr>
              <a:xfrm>
                <a:off x="11770811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4" name="Google Shape;1225;p142">
                <a:extLst>
                  <a:ext uri="{FF2B5EF4-FFF2-40B4-BE49-F238E27FC236}">
                    <a16:creationId xmlns:a16="http://schemas.microsoft.com/office/drawing/2014/main" id="{2E19B3D0-DCFC-AC18-CE5D-95AE112E0580}"/>
                  </a:ext>
                </a:extLst>
              </p:cNvPr>
              <p:cNvSpPr/>
              <p:nvPr/>
            </p:nvSpPr>
            <p:spPr>
              <a:xfrm>
                <a:off x="11770811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5" name="Google Shape;1226;p142">
                <a:extLst>
                  <a:ext uri="{FF2B5EF4-FFF2-40B4-BE49-F238E27FC236}">
                    <a16:creationId xmlns:a16="http://schemas.microsoft.com/office/drawing/2014/main" id="{56D7B938-F0B5-137D-38E9-5D22C0064246}"/>
                  </a:ext>
                </a:extLst>
              </p:cNvPr>
              <p:cNvSpPr/>
              <p:nvPr/>
            </p:nvSpPr>
            <p:spPr>
              <a:xfrm>
                <a:off x="11770811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6" name="Google Shape;1227;p142">
                <a:extLst>
                  <a:ext uri="{FF2B5EF4-FFF2-40B4-BE49-F238E27FC236}">
                    <a16:creationId xmlns:a16="http://schemas.microsoft.com/office/drawing/2014/main" id="{15006062-B13D-3581-B5FB-33DB54F6BB12}"/>
                  </a:ext>
                </a:extLst>
              </p:cNvPr>
              <p:cNvSpPr/>
              <p:nvPr/>
            </p:nvSpPr>
            <p:spPr>
              <a:xfrm>
                <a:off x="11771534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7" name="Google Shape;1228;p142">
                <a:extLst>
                  <a:ext uri="{FF2B5EF4-FFF2-40B4-BE49-F238E27FC236}">
                    <a16:creationId xmlns:a16="http://schemas.microsoft.com/office/drawing/2014/main" id="{8FAAC216-4882-0057-308B-AB7813467165}"/>
                  </a:ext>
                </a:extLst>
              </p:cNvPr>
              <p:cNvSpPr/>
              <p:nvPr/>
            </p:nvSpPr>
            <p:spPr>
              <a:xfrm>
                <a:off x="11771534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8" name="Google Shape;1229;p142">
                <a:extLst>
                  <a:ext uri="{FF2B5EF4-FFF2-40B4-BE49-F238E27FC236}">
                    <a16:creationId xmlns:a16="http://schemas.microsoft.com/office/drawing/2014/main" id="{EC32E9B9-1CA7-6F21-EAE6-80F11FBF2D10}"/>
                  </a:ext>
                </a:extLst>
              </p:cNvPr>
              <p:cNvSpPr/>
              <p:nvPr/>
            </p:nvSpPr>
            <p:spPr>
              <a:xfrm>
                <a:off x="11771534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9" name="Google Shape;1230;p142">
                <a:extLst>
                  <a:ext uri="{FF2B5EF4-FFF2-40B4-BE49-F238E27FC236}">
                    <a16:creationId xmlns:a16="http://schemas.microsoft.com/office/drawing/2014/main" id="{DCAE964F-2FB9-B119-AE40-49888D9BA0E9}"/>
                  </a:ext>
                </a:extLst>
              </p:cNvPr>
              <p:cNvSpPr/>
              <p:nvPr/>
            </p:nvSpPr>
            <p:spPr>
              <a:xfrm>
                <a:off x="11772246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0" name="Google Shape;1231;p142">
                <a:extLst>
                  <a:ext uri="{FF2B5EF4-FFF2-40B4-BE49-F238E27FC236}">
                    <a16:creationId xmlns:a16="http://schemas.microsoft.com/office/drawing/2014/main" id="{8BB9FB43-30DA-33DC-0BAA-80DC15DFAE4D}"/>
                  </a:ext>
                </a:extLst>
              </p:cNvPr>
              <p:cNvSpPr/>
              <p:nvPr/>
            </p:nvSpPr>
            <p:spPr>
              <a:xfrm>
                <a:off x="11772970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1" name="Google Shape;1232;p142">
                <a:extLst>
                  <a:ext uri="{FF2B5EF4-FFF2-40B4-BE49-F238E27FC236}">
                    <a16:creationId xmlns:a16="http://schemas.microsoft.com/office/drawing/2014/main" id="{C86CFE9D-B819-0D4E-4D68-A781657D9D9A}"/>
                  </a:ext>
                </a:extLst>
              </p:cNvPr>
              <p:cNvSpPr/>
              <p:nvPr/>
            </p:nvSpPr>
            <p:spPr>
              <a:xfrm>
                <a:off x="11772970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2" name="Google Shape;1233;p142">
                <a:extLst>
                  <a:ext uri="{FF2B5EF4-FFF2-40B4-BE49-F238E27FC236}">
                    <a16:creationId xmlns:a16="http://schemas.microsoft.com/office/drawing/2014/main" id="{04191072-E962-0BC2-0016-607AC821CB59}"/>
                  </a:ext>
                </a:extLst>
              </p:cNvPr>
              <p:cNvSpPr/>
              <p:nvPr/>
            </p:nvSpPr>
            <p:spPr>
              <a:xfrm>
                <a:off x="11773693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3" name="Google Shape;1234;p142">
                <a:extLst>
                  <a:ext uri="{FF2B5EF4-FFF2-40B4-BE49-F238E27FC236}">
                    <a16:creationId xmlns:a16="http://schemas.microsoft.com/office/drawing/2014/main" id="{7930C12B-2F38-0964-2CE5-93AFA288A707}"/>
                  </a:ext>
                </a:extLst>
              </p:cNvPr>
              <p:cNvSpPr/>
              <p:nvPr/>
            </p:nvSpPr>
            <p:spPr>
              <a:xfrm>
                <a:off x="11773693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4" name="Google Shape;1235;p142">
                <a:extLst>
                  <a:ext uri="{FF2B5EF4-FFF2-40B4-BE49-F238E27FC236}">
                    <a16:creationId xmlns:a16="http://schemas.microsoft.com/office/drawing/2014/main" id="{7BF44181-F894-B0A6-C5ED-0F5570426F43}"/>
                  </a:ext>
                </a:extLst>
              </p:cNvPr>
              <p:cNvSpPr/>
              <p:nvPr/>
            </p:nvSpPr>
            <p:spPr>
              <a:xfrm>
                <a:off x="11774417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5" name="Google Shape;1236;p142">
                <a:extLst>
                  <a:ext uri="{FF2B5EF4-FFF2-40B4-BE49-F238E27FC236}">
                    <a16:creationId xmlns:a16="http://schemas.microsoft.com/office/drawing/2014/main" id="{E02B1439-57AB-4015-AD23-DC7FABDFAEF8}"/>
                  </a:ext>
                </a:extLst>
              </p:cNvPr>
              <p:cNvSpPr/>
              <p:nvPr/>
            </p:nvSpPr>
            <p:spPr>
              <a:xfrm>
                <a:off x="11775129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6" name="Google Shape;1237;p142">
                <a:extLst>
                  <a:ext uri="{FF2B5EF4-FFF2-40B4-BE49-F238E27FC236}">
                    <a16:creationId xmlns:a16="http://schemas.microsoft.com/office/drawing/2014/main" id="{429DAB2F-8AE7-1D27-7633-458C70DEB010}"/>
                  </a:ext>
                </a:extLst>
              </p:cNvPr>
              <p:cNvSpPr/>
              <p:nvPr/>
            </p:nvSpPr>
            <p:spPr>
              <a:xfrm>
                <a:off x="12038791" y="2743215"/>
                <a:ext cx="59857" cy="11547"/>
              </a:xfrm>
              <a:custGeom>
                <a:avLst/>
                <a:gdLst/>
                <a:ahLst/>
                <a:cxnLst/>
                <a:rect l="l" t="t" r="r" b="b"/>
                <a:pathLst>
                  <a:path w="5128" h="989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1236" y="433"/>
                    </a:lnTo>
                    <a:lnTo>
                      <a:pt x="2471" y="741"/>
                    </a:lnTo>
                    <a:lnTo>
                      <a:pt x="3830" y="927"/>
                    </a:lnTo>
                    <a:lnTo>
                      <a:pt x="5127" y="989"/>
                    </a:lnTo>
                    <a:lnTo>
                      <a:pt x="5127" y="989"/>
                    </a:lnTo>
                    <a:lnTo>
                      <a:pt x="3830" y="927"/>
                    </a:lnTo>
                    <a:lnTo>
                      <a:pt x="2471" y="741"/>
                    </a:lnTo>
                    <a:lnTo>
                      <a:pt x="1236" y="43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7" name="Google Shape;1238;p142">
                <a:extLst>
                  <a:ext uri="{FF2B5EF4-FFF2-40B4-BE49-F238E27FC236}">
                    <a16:creationId xmlns:a16="http://schemas.microsoft.com/office/drawing/2014/main" id="{09233AA8-6715-941C-7C55-64398B88BE36}"/>
                  </a:ext>
                </a:extLst>
              </p:cNvPr>
              <p:cNvSpPr/>
              <p:nvPr/>
            </p:nvSpPr>
            <p:spPr>
              <a:xfrm>
                <a:off x="12017168" y="2669686"/>
                <a:ext cx="224964" cy="85111"/>
              </a:xfrm>
              <a:custGeom>
                <a:avLst/>
                <a:gdLst/>
                <a:ahLst/>
                <a:cxnLst/>
                <a:rect l="l" t="t" r="r" b="b"/>
                <a:pathLst>
                  <a:path w="19273" h="7290" extrusionOk="0">
                    <a:moveTo>
                      <a:pt x="19272" y="1"/>
                    </a:moveTo>
                    <a:lnTo>
                      <a:pt x="18284" y="742"/>
                    </a:lnTo>
                    <a:lnTo>
                      <a:pt x="17234" y="1421"/>
                    </a:lnTo>
                    <a:lnTo>
                      <a:pt x="16184" y="1916"/>
                    </a:lnTo>
                    <a:lnTo>
                      <a:pt x="15010" y="2348"/>
                    </a:lnTo>
                    <a:lnTo>
                      <a:pt x="13775" y="2657"/>
                    </a:lnTo>
                    <a:lnTo>
                      <a:pt x="12539" y="2904"/>
                    </a:lnTo>
                    <a:lnTo>
                      <a:pt x="11304" y="3027"/>
                    </a:lnTo>
                    <a:lnTo>
                      <a:pt x="10007" y="3089"/>
                    </a:lnTo>
                    <a:lnTo>
                      <a:pt x="8463" y="3027"/>
                    </a:lnTo>
                    <a:lnTo>
                      <a:pt x="6857" y="2842"/>
                    </a:lnTo>
                    <a:lnTo>
                      <a:pt x="5312" y="2533"/>
                    </a:lnTo>
                    <a:lnTo>
                      <a:pt x="3768" y="2163"/>
                    </a:lnTo>
                    <a:lnTo>
                      <a:pt x="3768" y="2224"/>
                    </a:lnTo>
                    <a:lnTo>
                      <a:pt x="3645" y="2533"/>
                    </a:lnTo>
                    <a:lnTo>
                      <a:pt x="3459" y="2904"/>
                    </a:lnTo>
                    <a:lnTo>
                      <a:pt x="3336" y="3274"/>
                    </a:lnTo>
                    <a:lnTo>
                      <a:pt x="3150" y="3583"/>
                    </a:lnTo>
                    <a:lnTo>
                      <a:pt x="2533" y="4201"/>
                    </a:lnTo>
                    <a:lnTo>
                      <a:pt x="1730" y="4695"/>
                    </a:lnTo>
                    <a:lnTo>
                      <a:pt x="927" y="5128"/>
                    </a:lnTo>
                    <a:lnTo>
                      <a:pt x="0" y="5436"/>
                    </a:lnTo>
                    <a:lnTo>
                      <a:pt x="927" y="5931"/>
                    </a:lnTo>
                    <a:lnTo>
                      <a:pt x="1853" y="6363"/>
                    </a:lnTo>
                    <a:lnTo>
                      <a:pt x="1853" y="6301"/>
                    </a:lnTo>
                    <a:lnTo>
                      <a:pt x="3089" y="6734"/>
                    </a:lnTo>
                    <a:lnTo>
                      <a:pt x="4324" y="7042"/>
                    </a:lnTo>
                    <a:lnTo>
                      <a:pt x="5683" y="7228"/>
                    </a:lnTo>
                    <a:lnTo>
                      <a:pt x="6980" y="7290"/>
                    </a:lnTo>
                    <a:lnTo>
                      <a:pt x="8216" y="7290"/>
                    </a:lnTo>
                    <a:lnTo>
                      <a:pt x="8277" y="7228"/>
                    </a:lnTo>
                    <a:lnTo>
                      <a:pt x="8833" y="7228"/>
                    </a:lnTo>
                    <a:lnTo>
                      <a:pt x="8833" y="7166"/>
                    </a:lnTo>
                    <a:lnTo>
                      <a:pt x="9266" y="7166"/>
                    </a:lnTo>
                    <a:lnTo>
                      <a:pt x="9266" y="7104"/>
                    </a:lnTo>
                    <a:lnTo>
                      <a:pt x="9636" y="7104"/>
                    </a:lnTo>
                    <a:lnTo>
                      <a:pt x="9636" y="7042"/>
                    </a:lnTo>
                    <a:lnTo>
                      <a:pt x="9945" y="7042"/>
                    </a:lnTo>
                    <a:lnTo>
                      <a:pt x="9945" y="6981"/>
                    </a:lnTo>
                    <a:lnTo>
                      <a:pt x="10254" y="6981"/>
                    </a:lnTo>
                    <a:lnTo>
                      <a:pt x="10254" y="6919"/>
                    </a:lnTo>
                    <a:lnTo>
                      <a:pt x="10501" y="6919"/>
                    </a:lnTo>
                    <a:lnTo>
                      <a:pt x="10501" y="6857"/>
                    </a:lnTo>
                    <a:lnTo>
                      <a:pt x="10686" y="6857"/>
                    </a:lnTo>
                    <a:lnTo>
                      <a:pt x="10748" y="6795"/>
                    </a:lnTo>
                    <a:lnTo>
                      <a:pt x="10810" y="6795"/>
                    </a:lnTo>
                    <a:lnTo>
                      <a:pt x="11489" y="6610"/>
                    </a:lnTo>
                    <a:lnTo>
                      <a:pt x="12169" y="6363"/>
                    </a:lnTo>
                    <a:lnTo>
                      <a:pt x="13466" y="5745"/>
                    </a:lnTo>
                    <a:lnTo>
                      <a:pt x="14701" y="5066"/>
                    </a:lnTo>
                    <a:lnTo>
                      <a:pt x="15813" y="4263"/>
                    </a:lnTo>
                    <a:lnTo>
                      <a:pt x="16863" y="3336"/>
                    </a:lnTo>
                    <a:lnTo>
                      <a:pt x="17790" y="2286"/>
                    </a:lnTo>
                    <a:lnTo>
                      <a:pt x="18593" y="1174"/>
                    </a:lnTo>
                    <a:lnTo>
                      <a:pt x="18964" y="618"/>
                    </a:lnTo>
                    <a:lnTo>
                      <a:pt x="19272" y="1"/>
                    </a:lnTo>
                    <a:close/>
                  </a:path>
                </a:pathLst>
              </a:custGeom>
              <a:solidFill>
                <a:srgbClr val="DCA96B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8" name="Google Shape;1239;p142">
                <a:extLst>
                  <a:ext uri="{FF2B5EF4-FFF2-40B4-BE49-F238E27FC236}">
                    <a16:creationId xmlns:a16="http://schemas.microsoft.com/office/drawing/2014/main" id="{790F7BC7-5911-C5AB-4EE1-9DFEE3BAE041}"/>
                  </a:ext>
                </a:extLst>
              </p:cNvPr>
              <p:cNvSpPr/>
              <p:nvPr/>
            </p:nvSpPr>
            <p:spPr>
              <a:xfrm>
                <a:off x="12017168" y="2669686"/>
                <a:ext cx="224964" cy="85111"/>
              </a:xfrm>
              <a:custGeom>
                <a:avLst/>
                <a:gdLst/>
                <a:ahLst/>
                <a:cxnLst/>
                <a:rect l="l" t="t" r="r" b="b"/>
                <a:pathLst>
                  <a:path w="19273" h="7290" fill="none" extrusionOk="0">
                    <a:moveTo>
                      <a:pt x="19272" y="1"/>
                    </a:moveTo>
                    <a:lnTo>
                      <a:pt x="19272" y="1"/>
                    </a:lnTo>
                    <a:lnTo>
                      <a:pt x="18284" y="742"/>
                    </a:lnTo>
                    <a:lnTo>
                      <a:pt x="17234" y="1421"/>
                    </a:lnTo>
                    <a:lnTo>
                      <a:pt x="16184" y="1916"/>
                    </a:lnTo>
                    <a:lnTo>
                      <a:pt x="15010" y="2348"/>
                    </a:lnTo>
                    <a:lnTo>
                      <a:pt x="13775" y="2657"/>
                    </a:lnTo>
                    <a:lnTo>
                      <a:pt x="12539" y="2904"/>
                    </a:lnTo>
                    <a:lnTo>
                      <a:pt x="11304" y="3027"/>
                    </a:lnTo>
                    <a:lnTo>
                      <a:pt x="10007" y="3089"/>
                    </a:lnTo>
                    <a:lnTo>
                      <a:pt x="10007" y="3089"/>
                    </a:lnTo>
                    <a:lnTo>
                      <a:pt x="8463" y="3027"/>
                    </a:lnTo>
                    <a:lnTo>
                      <a:pt x="6857" y="2842"/>
                    </a:lnTo>
                    <a:lnTo>
                      <a:pt x="5312" y="2533"/>
                    </a:lnTo>
                    <a:lnTo>
                      <a:pt x="3768" y="2163"/>
                    </a:lnTo>
                    <a:lnTo>
                      <a:pt x="3768" y="2163"/>
                    </a:lnTo>
                    <a:lnTo>
                      <a:pt x="3768" y="2224"/>
                    </a:lnTo>
                    <a:lnTo>
                      <a:pt x="3768" y="2224"/>
                    </a:lnTo>
                    <a:lnTo>
                      <a:pt x="3645" y="2533"/>
                    </a:lnTo>
                    <a:lnTo>
                      <a:pt x="3459" y="2904"/>
                    </a:lnTo>
                    <a:lnTo>
                      <a:pt x="3336" y="3274"/>
                    </a:lnTo>
                    <a:lnTo>
                      <a:pt x="3150" y="3583"/>
                    </a:lnTo>
                    <a:lnTo>
                      <a:pt x="3150" y="3583"/>
                    </a:lnTo>
                    <a:lnTo>
                      <a:pt x="2533" y="4201"/>
                    </a:lnTo>
                    <a:lnTo>
                      <a:pt x="1730" y="4695"/>
                    </a:lnTo>
                    <a:lnTo>
                      <a:pt x="927" y="5128"/>
                    </a:lnTo>
                    <a:lnTo>
                      <a:pt x="0" y="5436"/>
                    </a:lnTo>
                    <a:lnTo>
                      <a:pt x="0" y="5436"/>
                    </a:lnTo>
                    <a:lnTo>
                      <a:pt x="927" y="5931"/>
                    </a:lnTo>
                    <a:lnTo>
                      <a:pt x="1853" y="6363"/>
                    </a:lnTo>
                    <a:lnTo>
                      <a:pt x="1853" y="6363"/>
                    </a:lnTo>
                    <a:lnTo>
                      <a:pt x="1853" y="6301"/>
                    </a:lnTo>
                    <a:lnTo>
                      <a:pt x="1853" y="6301"/>
                    </a:lnTo>
                    <a:lnTo>
                      <a:pt x="3089" y="6734"/>
                    </a:lnTo>
                    <a:lnTo>
                      <a:pt x="4324" y="7042"/>
                    </a:lnTo>
                    <a:lnTo>
                      <a:pt x="5683" y="7228"/>
                    </a:lnTo>
                    <a:lnTo>
                      <a:pt x="6980" y="7290"/>
                    </a:lnTo>
                    <a:lnTo>
                      <a:pt x="6980" y="7290"/>
                    </a:lnTo>
                    <a:lnTo>
                      <a:pt x="6980" y="7290"/>
                    </a:lnTo>
                    <a:lnTo>
                      <a:pt x="6980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833" y="7228"/>
                    </a:lnTo>
                    <a:lnTo>
                      <a:pt x="8833" y="7228"/>
                    </a:lnTo>
                    <a:lnTo>
                      <a:pt x="8833" y="7228"/>
                    </a:lnTo>
                    <a:lnTo>
                      <a:pt x="8833" y="7228"/>
                    </a:lnTo>
                    <a:lnTo>
                      <a:pt x="8833" y="7166"/>
                    </a:lnTo>
                    <a:lnTo>
                      <a:pt x="8833" y="7166"/>
                    </a:lnTo>
                    <a:lnTo>
                      <a:pt x="8833" y="7166"/>
                    </a:lnTo>
                    <a:lnTo>
                      <a:pt x="8833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04"/>
                    </a:lnTo>
                    <a:lnTo>
                      <a:pt x="9266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042"/>
                    </a:lnTo>
                    <a:lnTo>
                      <a:pt x="9636" y="7042"/>
                    </a:lnTo>
                    <a:lnTo>
                      <a:pt x="9636" y="7042"/>
                    </a:lnTo>
                    <a:lnTo>
                      <a:pt x="9636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6981"/>
                    </a:lnTo>
                    <a:lnTo>
                      <a:pt x="9945" y="6981"/>
                    </a:lnTo>
                    <a:lnTo>
                      <a:pt x="9945" y="6981"/>
                    </a:lnTo>
                    <a:lnTo>
                      <a:pt x="9945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254" y="6981"/>
                    </a:lnTo>
                    <a:lnTo>
                      <a:pt x="10254" y="6981"/>
                    </a:lnTo>
                    <a:lnTo>
                      <a:pt x="10254" y="6981"/>
                    </a:lnTo>
                    <a:lnTo>
                      <a:pt x="10254" y="6981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501" y="6919"/>
                    </a:lnTo>
                    <a:lnTo>
                      <a:pt x="10501" y="6919"/>
                    </a:lnTo>
                    <a:lnTo>
                      <a:pt x="10501" y="6919"/>
                    </a:lnTo>
                    <a:lnTo>
                      <a:pt x="10501" y="6919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748" y="6795"/>
                    </a:lnTo>
                    <a:lnTo>
                      <a:pt x="10748" y="6795"/>
                    </a:lnTo>
                    <a:lnTo>
                      <a:pt x="10748" y="6795"/>
                    </a:lnTo>
                    <a:lnTo>
                      <a:pt x="10748" y="6795"/>
                    </a:lnTo>
                    <a:lnTo>
                      <a:pt x="10810" y="6795"/>
                    </a:lnTo>
                    <a:lnTo>
                      <a:pt x="10810" y="6795"/>
                    </a:lnTo>
                    <a:lnTo>
                      <a:pt x="10810" y="6795"/>
                    </a:lnTo>
                    <a:lnTo>
                      <a:pt x="10810" y="6795"/>
                    </a:lnTo>
                    <a:lnTo>
                      <a:pt x="11489" y="6610"/>
                    </a:lnTo>
                    <a:lnTo>
                      <a:pt x="12169" y="6363"/>
                    </a:lnTo>
                    <a:lnTo>
                      <a:pt x="13466" y="5745"/>
                    </a:lnTo>
                    <a:lnTo>
                      <a:pt x="14701" y="5066"/>
                    </a:lnTo>
                    <a:lnTo>
                      <a:pt x="15813" y="4263"/>
                    </a:lnTo>
                    <a:lnTo>
                      <a:pt x="16863" y="3336"/>
                    </a:lnTo>
                    <a:lnTo>
                      <a:pt x="17790" y="2286"/>
                    </a:lnTo>
                    <a:lnTo>
                      <a:pt x="18593" y="1174"/>
                    </a:lnTo>
                    <a:lnTo>
                      <a:pt x="18964" y="618"/>
                    </a:lnTo>
                    <a:lnTo>
                      <a:pt x="1927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9" name="Google Shape;1240;p142">
              <a:extLst>
                <a:ext uri="{FF2B5EF4-FFF2-40B4-BE49-F238E27FC236}">
                  <a16:creationId xmlns:a16="http://schemas.microsoft.com/office/drawing/2014/main" id="{647D278C-9C0B-D578-6F72-CCCF7021C631}"/>
                </a:ext>
              </a:extLst>
            </p:cNvPr>
            <p:cNvGrpSpPr/>
            <p:nvPr/>
          </p:nvGrpSpPr>
          <p:grpSpPr>
            <a:xfrm>
              <a:off x="911954" y="5208246"/>
              <a:ext cx="1288603" cy="1894974"/>
              <a:chOff x="10817155" y="1978433"/>
              <a:chExt cx="769269" cy="1131125"/>
            </a:xfrm>
          </p:grpSpPr>
          <p:sp>
            <p:nvSpPr>
              <p:cNvPr id="903" name="Google Shape;1241;p142">
                <a:extLst>
                  <a:ext uri="{FF2B5EF4-FFF2-40B4-BE49-F238E27FC236}">
                    <a16:creationId xmlns:a16="http://schemas.microsoft.com/office/drawing/2014/main" id="{32392795-6AE7-C3F2-5878-0F1B7549E2B3}"/>
                  </a:ext>
                </a:extLst>
              </p:cNvPr>
              <p:cNvSpPr/>
              <p:nvPr/>
            </p:nvSpPr>
            <p:spPr>
              <a:xfrm>
                <a:off x="11194862" y="2779973"/>
                <a:ext cx="116095" cy="329585"/>
              </a:xfrm>
              <a:custGeom>
                <a:avLst/>
                <a:gdLst/>
                <a:ahLst/>
                <a:cxnLst/>
                <a:rect l="l" t="t" r="r" b="b"/>
                <a:pathLst>
                  <a:path w="9946" h="28230" extrusionOk="0">
                    <a:moveTo>
                      <a:pt x="1298" y="0"/>
                    </a:moveTo>
                    <a:lnTo>
                      <a:pt x="1" y="28229"/>
                    </a:lnTo>
                    <a:lnTo>
                      <a:pt x="9946" y="28229"/>
                    </a:lnTo>
                    <a:lnTo>
                      <a:pt x="8710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4" name="Google Shape;1242;p142">
                <a:extLst>
                  <a:ext uri="{FF2B5EF4-FFF2-40B4-BE49-F238E27FC236}">
                    <a16:creationId xmlns:a16="http://schemas.microsoft.com/office/drawing/2014/main" id="{592E39F1-5F61-E15C-C48C-EC4FECF783B6}"/>
                  </a:ext>
                </a:extLst>
              </p:cNvPr>
              <p:cNvSpPr/>
              <p:nvPr/>
            </p:nvSpPr>
            <p:spPr>
              <a:xfrm>
                <a:off x="11123503" y="2656710"/>
                <a:ext cx="123308" cy="123335"/>
              </a:xfrm>
              <a:custGeom>
                <a:avLst/>
                <a:gdLst/>
                <a:ahLst/>
                <a:cxnLst/>
                <a:rect l="l" t="t" r="r" b="b"/>
                <a:pathLst>
                  <a:path w="10564" h="10564" extrusionOk="0">
                    <a:moveTo>
                      <a:pt x="0" y="1"/>
                    </a:moveTo>
                    <a:lnTo>
                      <a:pt x="309" y="186"/>
                    </a:lnTo>
                    <a:lnTo>
                      <a:pt x="1174" y="742"/>
                    </a:lnTo>
                    <a:lnTo>
                      <a:pt x="2348" y="1669"/>
                    </a:lnTo>
                    <a:lnTo>
                      <a:pt x="2965" y="2286"/>
                    </a:lnTo>
                    <a:lnTo>
                      <a:pt x="3645" y="2904"/>
                    </a:lnTo>
                    <a:lnTo>
                      <a:pt x="4324" y="3645"/>
                    </a:lnTo>
                    <a:lnTo>
                      <a:pt x="5004" y="4448"/>
                    </a:lnTo>
                    <a:lnTo>
                      <a:pt x="5622" y="5313"/>
                    </a:lnTo>
                    <a:lnTo>
                      <a:pt x="6177" y="6301"/>
                    </a:lnTo>
                    <a:lnTo>
                      <a:pt x="6672" y="7290"/>
                    </a:lnTo>
                    <a:lnTo>
                      <a:pt x="7042" y="8340"/>
                    </a:lnTo>
                    <a:lnTo>
                      <a:pt x="7289" y="9390"/>
                    </a:lnTo>
                    <a:lnTo>
                      <a:pt x="7351" y="10008"/>
                    </a:lnTo>
                    <a:lnTo>
                      <a:pt x="7413" y="10563"/>
                    </a:lnTo>
                    <a:lnTo>
                      <a:pt x="10563" y="10563"/>
                    </a:lnTo>
                    <a:lnTo>
                      <a:pt x="10378" y="10193"/>
                    </a:lnTo>
                    <a:lnTo>
                      <a:pt x="10007" y="9081"/>
                    </a:lnTo>
                    <a:lnTo>
                      <a:pt x="9637" y="8340"/>
                    </a:lnTo>
                    <a:lnTo>
                      <a:pt x="9266" y="7537"/>
                    </a:lnTo>
                    <a:lnTo>
                      <a:pt x="8772" y="6610"/>
                    </a:lnTo>
                    <a:lnTo>
                      <a:pt x="8216" y="5684"/>
                    </a:lnTo>
                    <a:lnTo>
                      <a:pt x="7536" y="4757"/>
                    </a:lnTo>
                    <a:lnTo>
                      <a:pt x="6795" y="3831"/>
                    </a:lnTo>
                    <a:lnTo>
                      <a:pt x="5930" y="2904"/>
                    </a:lnTo>
                    <a:lnTo>
                      <a:pt x="4942" y="2101"/>
                    </a:lnTo>
                    <a:lnTo>
                      <a:pt x="4448" y="1730"/>
                    </a:lnTo>
                    <a:lnTo>
                      <a:pt x="3892" y="1360"/>
                    </a:lnTo>
                    <a:lnTo>
                      <a:pt x="3336" y="1051"/>
                    </a:lnTo>
                    <a:lnTo>
                      <a:pt x="2718" y="742"/>
                    </a:lnTo>
                    <a:lnTo>
                      <a:pt x="2101" y="495"/>
                    </a:lnTo>
                    <a:lnTo>
                      <a:pt x="1421" y="310"/>
                    </a:lnTo>
                    <a:lnTo>
                      <a:pt x="742" y="124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5" name="Google Shape;1243;p142">
                <a:extLst>
                  <a:ext uri="{FF2B5EF4-FFF2-40B4-BE49-F238E27FC236}">
                    <a16:creationId xmlns:a16="http://schemas.microsoft.com/office/drawing/2014/main" id="{F621603E-B8B1-74EB-72EC-062EC99DF264}"/>
                  </a:ext>
                </a:extLst>
              </p:cNvPr>
              <p:cNvSpPr/>
              <p:nvPr/>
            </p:nvSpPr>
            <p:spPr>
              <a:xfrm>
                <a:off x="11123503" y="2656710"/>
                <a:ext cx="123308" cy="123335"/>
              </a:xfrm>
              <a:custGeom>
                <a:avLst/>
                <a:gdLst/>
                <a:ahLst/>
                <a:cxnLst/>
                <a:rect l="l" t="t" r="r" b="b"/>
                <a:pathLst>
                  <a:path w="10564" h="10564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309" y="186"/>
                    </a:lnTo>
                    <a:lnTo>
                      <a:pt x="1174" y="742"/>
                    </a:lnTo>
                    <a:lnTo>
                      <a:pt x="2348" y="1669"/>
                    </a:lnTo>
                    <a:lnTo>
                      <a:pt x="2965" y="2286"/>
                    </a:lnTo>
                    <a:lnTo>
                      <a:pt x="3645" y="2904"/>
                    </a:lnTo>
                    <a:lnTo>
                      <a:pt x="4324" y="3645"/>
                    </a:lnTo>
                    <a:lnTo>
                      <a:pt x="5004" y="4448"/>
                    </a:lnTo>
                    <a:lnTo>
                      <a:pt x="5622" y="5313"/>
                    </a:lnTo>
                    <a:lnTo>
                      <a:pt x="6177" y="6301"/>
                    </a:lnTo>
                    <a:lnTo>
                      <a:pt x="6672" y="7290"/>
                    </a:lnTo>
                    <a:lnTo>
                      <a:pt x="7042" y="8340"/>
                    </a:lnTo>
                    <a:lnTo>
                      <a:pt x="7289" y="9390"/>
                    </a:lnTo>
                    <a:lnTo>
                      <a:pt x="7351" y="10008"/>
                    </a:lnTo>
                    <a:lnTo>
                      <a:pt x="7413" y="10563"/>
                    </a:lnTo>
                    <a:lnTo>
                      <a:pt x="10563" y="10563"/>
                    </a:lnTo>
                    <a:lnTo>
                      <a:pt x="10563" y="10563"/>
                    </a:lnTo>
                    <a:lnTo>
                      <a:pt x="10378" y="10193"/>
                    </a:lnTo>
                    <a:lnTo>
                      <a:pt x="10007" y="9081"/>
                    </a:lnTo>
                    <a:lnTo>
                      <a:pt x="9637" y="8340"/>
                    </a:lnTo>
                    <a:lnTo>
                      <a:pt x="9266" y="7537"/>
                    </a:lnTo>
                    <a:lnTo>
                      <a:pt x="8772" y="6610"/>
                    </a:lnTo>
                    <a:lnTo>
                      <a:pt x="8216" y="5684"/>
                    </a:lnTo>
                    <a:lnTo>
                      <a:pt x="7536" y="4757"/>
                    </a:lnTo>
                    <a:lnTo>
                      <a:pt x="6795" y="3831"/>
                    </a:lnTo>
                    <a:lnTo>
                      <a:pt x="5930" y="2904"/>
                    </a:lnTo>
                    <a:lnTo>
                      <a:pt x="4942" y="2101"/>
                    </a:lnTo>
                    <a:lnTo>
                      <a:pt x="4448" y="1730"/>
                    </a:lnTo>
                    <a:lnTo>
                      <a:pt x="3892" y="1360"/>
                    </a:lnTo>
                    <a:lnTo>
                      <a:pt x="3336" y="1051"/>
                    </a:lnTo>
                    <a:lnTo>
                      <a:pt x="2718" y="742"/>
                    </a:lnTo>
                    <a:lnTo>
                      <a:pt x="2101" y="495"/>
                    </a:lnTo>
                    <a:lnTo>
                      <a:pt x="1421" y="310"/>
                    </a:lnTo>
                    <a:lnTo>
                      <a:pt x="742" y="124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6" name="Google Shape;1244;p142">
                <a:extLst>
                  <a:ext uri="{FF2B5EF4-FFF2-40B4-BE49-F238E27FC236}">
                    <a16:creationId xmlns:a16="http://schemas.microsoft.com/office/drawing/2014/main" id="{7CA6FDD3-A19E-5288-BF86-9A3B258705AD}"/>
                  </a:ext>
                </a:extLst>
              </p:cNvPr>
              <p:cNvSpPr/>
              <p:nvPr/>
            </p:nvSpPr>
            <p:spPr>
              <a:xfrm>
                <a:off x="11228739" y="2663198"/>
                <a:ext cx="55538" cy="120451"/>
              </a:xfrm>
              <a:custGeom>
                <a:avLst/>
                <a:gdLst/>
                <a:ahLst/>
                <a:cxnLst/>
                <a:rect l="l" t="t" r="r" b="b"/>
                <a:pathLst>
                  <a:path w="4758" h="10317" extrusionOk="0">
                    <a:moveTo>
                      <a:pt x="1" y="1"/>
                    </a:moveTo>
                    <a:lnTo>
                      <a:pt x="680" y="557"/>
                    </a:lnTo>
                    <a:lnTo>
                      <a:pt x="1236" y="1113"/>
                    </a:lnTo>
                    <a:lnTo>
                      <a:pt x="1669" y="1730"/>
                    </a:lnTo>
                    <a:lnTo>
                      <a:pt x="2039" y="2410"/>
                    </a:lnTo>
                    <a:lnTo>
                      <a:pt x="2286" y="3089"/>
                    </a:lnTo>
                    <a:lnTo>
                      <a:pt x="2472" y="3830"/>
                    </a:lnTo>
                    <a:lnTo>
                      <a:pt x="2534" y="4510"/>
                    </a:lnTo>
                    <a:lnTo>
                      <a:pt x="2595" y="5189"/>
                    </a:lnTo>
                    <a:lnTo>
                      <a:pt x="2595" y="5869"/>
                    </a:lnTo>
                    <a:lnTo>
                      <a:pt x="2534" y="6487"/>
                    </a:lnTo>
                    <a:lnTo>
                      <a:pt x="2410" y="7537"/>
                    </a:lnTo>
                    <a:lnTo>
                      <a:pt x="2286" y="8216"/>
                    </a:lnTo>
                    <a:lnTo>
                      <a:pt x="2163" y="8463"/>
                    </a:lnTo>
                    <a:lnTo>
                      <a:pt x="3954" y="10316"/>
                    </a:lnTo>
                    <a:lnTo>
                      <a:pt x="4757" y="5004"/>
                    </a:lnTo>
                    <a:lnTo>
                      <a:pt x="4510" y="4201"/>
                    </a:lnTo>
                    <a:lnTo>
                      <a:pt x="4201" y="3522"/>
                    </a:lnTo>
                    <a:lnTo>
                      <a:pt x="3892" y="2904"/>
                    </a:lnTo>
                    <a:lnTo>
                      <a:pt x="3522" y="2348"/>
                    </a:lnTo>
                    <a:lnTo>
                      <a:pt x="3151" y="1854"/>
                    </a:lnTo>
                    <a:lnTo>
                      <a:pt x="2719" y="1421"/>
                    </a:lnTo>
                    <a:lnTo>
                      <a:pt x="2348" y="1113"/>
                    </a:lnTo>
                    <a:lnTo>
                      <a:pt x="1916" y="804"/>
                    </a:lnTo>
                    <a:lnTo>
                      <a:pt x="1175" y="433"/>
                    </a:lnTo>
                    <a:lnTo>
                      <a:pt x="557" y="186"/>
                    </a:lnTo>
                    <a:lnTo>
                      <a:pt x="124" y="6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7" name="Google Shape;1245;p142">
                <a:extLst>
                  <a:ext uri="{FF2B5EF4-FFF2-40B4-BE49-F238E27FC236}">
                    <a16:creationId xmlns:a16="http://schemas.microsoft.com/office/drawing/2014/main" id="{A2375C31-A1C2-DD7E-DFED-8B5196F0E24A}"/>
                  </a:ext>
                </a:extLst>
              </p:cNvPr>
              <p:cNvSpPr/>
              <p:nvPr/>
            </p:nvSpPr>
            <p:spPr>
              <a:xfrm>
                <a:off x="11228739" y="2663198"/>
                <a:ext cx="55538" cy="120451"/>
              </a:xfrm>
              <a:custGeom>
                <a:avLst/>
                <a:gdLst/>
                <a:ahLst/>
                <a:cxnLst/>
                <a:rect l="l" t="t" r="r" b="b"/>
                <a:pathLst>
                  <a:path w="4758" h="10317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680" y="557"/>
                    </a:lnTo>
                    <a:lnTo>
                      <a:pt x="1236" y="1113"/>
                    </a:lnTo>
                    <a:lnTo>
                      <a:pt x="1669" y="1730"/>
                    </a:lnTo>
                    <a:lnTo>
                      <a:pt x="2039" y="2410"/>
                    </a:lnTo>
                    <a:lnTo>
                      <a:pt x="2286" y="3089"/>
                    </a:lnTo>
                    <a:lnTo>
                      <a:pt x="2472" y="3830"/>
                    </a:lnTo>
                    <a:lnTo>
                      <a:pt x="2534" y="4510"/>
                    </a:lnTo>
                    <a:lnTo>
                      <a:pt x="2595" y="5189"/>
                    </a:lnTo>
                    <a:lnTo>
                      <a:pt x="2595" y="5869"/>
                    </a:lnTo>
                    <a:lnTo>
                      <a:pt x="2534" y="6487"/>
                    </a:lnTo>
                    <a:lnTo>
                      <a:pt x="2410" y="7537"/>
                    </a:lnTo>
                    <a:lnTo>
                      <a:pt x="2286" y="8216"/>
                    </a:lnTo>
                    <a:lnTo>
                      <a:pt x="2163" y="8463"/>
                    </a:lnTo>
                    <a:lnTo>
                      <a:pt x="3954" y="10316"/>
                    </a:lnTo>
                    <a:lnTo>
                      <a:pt x="4757" y="5004"/>
                    </a:lnTo>
                    <a:lnTo>
                      <a:pt x="4757" y="5004"/>
                    </a:lnTo>
                    <a:lnTo>
                      <a:pt x="4510" y="4201"/>
                    </a:lnTo>
                    <a:lnTo>
                      <a:pt x="4201" y="3522"/>
                    </a:lnTo>
                    <a:lnTo>
                      <a:pt x="3892" y="2904"/>
                    </a:lnTo>
                    <a:lnTo>
                      <a:pt x="3522" y="2348"/>
                    </a:lnTo>
                    <a:lnTo>
                      <a:pt x="3151" y="1854"/>
                    </a:lnTo>
                    <a:lnTo>
                      <a:pt x="2719" y="1421"/>
                    </a:lnTo>
                    <a:lnTo>
                      <a:pt x="2348" y="1113"/>
                    </a:lnTo>
                    <a:lnTo>
                      <a:pt x="1916" y="804"/>
                    </a:lnTo>
                    <a:lnTo>
                      <a:pt x="1175" y="433"/>
                    </a:lnTo>
                    <a:lnTo>
                      <a:pt x="557" y="186"/>
                    </a:lnTo>
                    <a:lnTo>
                      <a:pt x="124" y="63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8" name="Google Shape;1246;p142">
                <a:extLst>
                  <a:ext uri="{FF2B5EF4-FFF2-40B4-BE49-F238E27FC236}">
                    <a16:creationId xmlns:a16="http://schemas.microsoft.com/office/drawing/2014/main" id="{E33BD61A-44FB-2100-B6BC-1B6650C0D60D}"/>
                  </a:ext>
                </a:extLst>
              </p:cNvPr>
              <p:cNvSpPr/>
              <p:nvPr/>
            </p:nvSpPr>
            <p:spPr>
              <a:xfrm>
                <a:off x="11224421" y="2741044"/>
                <a:ext cx="59857" cy="72852"/>
              </a:xfrm>
              <a:custGeom>
                <a:avLst/>
                <a:gdLst/>
                <a:ahLst/>
                <a:cxnLst/>
                <a:rect l="l" t="t" r="r" b="b"/>
                <a:pathLst>
                  <a:path w="5128" h="6240" extrusionOk="0">
                    <a:moveTo>
                      <a:pt x="371" y="1"/>
                    </a:moveTo>
                    <a:lnTo>
                      <a:pt x="247" y="3028"/>
                    </a:lnTo>
                    <a:lnTo>
                      <a:pt x="124" y="5190"/>
                    </a:lnTo>
                    <a:lnTo>
                      <a:pt x="0" y="6178"/>
                    </a:lnTo>
                    <a:lnTo>
                      <a:pt x="247" y="6178"/>
                    </a:lnTo>
                    <a:lnTo>
                      <a:pt x="803" y="6240"/>
                    </a:lnTo>
                    <a:lnTo>
                      <a:pt x="2533" y="6240"/>
                    </a:lnTo>
                    <a:lnTo>
                      <a:pt x="5127" y="6178"/>
                    </a:lnTo>
                    <a:lnTo>
                      <a:pt x="2904" y="1"/>
                    </a:lnTo>
                    <a:lnTo>
                      <a:pt x="2656" y="372"/>
                    </a:lnTo>
                    <a:lnTo>
                      <a:pt x="2409" y="619"/>
                    </a:lnTo>
                    <a:lnTo>
                      <a:pt x="2162" y="866"/>
                    </a:lnTo>
                    <a:lnTo>
                      <a:pt x="1915" y="927"/>
                    </a:lnTo>
                    <a:lnTo>
                      <a:pt x="1668" y="989"/>
                    </a:lnTo>
                    <a:lnTo>
                      <a:pt x="1483" y="989"/>
                    </a:lnTo>
                    <a:lnTo>
                      <a:pt x="1297" y="927"/>
                    </a:lnTo>
                    <a:lnTo>
                      <a:pt x="1112" y="866"/>
                    </a:lnTo>
                    <a:lnTo>
                      <a:pt x="803" y="619"/>
                    </a:lnTo>
                    <a:lnTo>
                      <a:pt x="556" y="310"/>
                    </a:lnTo>
                    <a:lnTo>
                      <a:pt x="371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9" name="Google Shape;1247;p142">
                <a:extLst>
                  <a:ext uri="{FF2B5EF4-FFF2-40B4-BE49-F238E27FC236}">
                    <a16:creationId xmlns:a16="http://schemas.microsoft.com/office/drawing/2014/main" id="{ACADD486-AB9A-2D1B-C3E8-7F85435FB4CA}"/>
                  </a:ext>
                </a:extLst>
              </p:cNvPr>
              <p:cNvSpPr/>
              <p:nvPr/>
            </p:nvSpPr>
            <p:spPr>
              <a:xfrm>
                <a:off x="11186938" y="2621399"/>
                <a:ext cx="41823" cy="100253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8587" extrusionOk="0">
                    <a:moveTo>
                      <a:pt x="3583" y="0"/>
                    </a:moveTo>
                    <a:lnTo>
                      <a:pt x="3398" y="62"/>
                    </a:lnTo>
                    <a:lnTo>
                      <a:pt x="2965" y="247"/>
                    </a:lnTo>
                    <a:lnTo>
                      <a:pt x="2348" y="618"/>
                    </a:lnTo>
                    <a:lnTo>
                      <a:pt x="1977" y="865"/>
                    </a:lnTo>
                    <a:lnTo>
                      <a:pt x="1668" y="1174"/>
                    </a:lnTo>
                    <a:lnTo>
                      <a:pt x="1297" y="1544"/>
                    </a:lnTo>
                    <a:lnTo>
                      <a:pt x="989" y="1977"/>
                    </a:lnTo>
                    <a:lnTo>
                      <a:pt x="680" y="2471"/>
                    </a:lnTo>
                    <a:lnTo>
                      <a:pt x="433" y="3027"/>
                    </a:lnTo>
                    <a:lnTo>
                      <a:pt x="186" y="3706"/>
                    </a:lnTo>
                    <a:lnTo>
                      <a:pt x="62" y="4386"/>
                    </a:lnTo>
                    <a:lnTo>
                      <a:pt x="0" y="5251"/>
                    </a:lnTo>
                    <a:lnTo>
                      <a:pt x="62" y="6115"/>
                    </a:lnTo>
                    <a:lnTo>
                      <a:pt x="2471" y="8586"/>
                    </a:lnTo>
                    <a:lnTo>
                      <a:pt x="2348" y="8339"/>
                    </a:lnTo>
                    <a:lnTo>
                      <a:pt x="1977" y="7721"/>
                    </a:lnTo>
                    <a:lnTo>
                      <a:pt x="1544" y="6733"/>
                    </a:lnTo>
                    <a:lnTo>
                      <a:pt x="1359" y="6177"/>
                    </a:lnTo>
                    <a:lnTo>
                      <a:pt x="1236" y="5498"/>
                    </a:lnTo>
                    <a:lnTo>
                      <a:pt x="1174" y="4880"/>
                    </a:lnTo>
                    <a:lnTo>
                      <a:pt x="1174" y="4200"/>
                    </a:lnTo>
                    <a:lnTo>
                      <a:pt x="1236" y="3459"/>
                    </a:lnTo>
                    <a:lnTo>
                      <a:pt x="1421" y="2718"/>
                    </a:lnTo>
                    <a:lnTo>
                      <a:pt x="1730" y="2038"/>
                    </a:lnTo>
                    <a:lnTo>
                      <a:pt x="2162" y="1359"/>
                    </a:lnTo>
                    <a:lnTo>
                      <a:pt x="2780" y="680"/>
                    </a:lnTo>
                    <a:lnTo>
                      <a:pt x="3151" y="309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0" name="Google Shape;1248;p142">
                <a:extLst>
                  <a:ext uri="{FF2B5EF4-FFF2-40B4-BE49-F238E27FC236}">
                    <a16:creationId xmlns:a16="http://schemas.microsoft.com/office/drawing/2014/main" id="{886DBF19-67CE-9B74-470C-A696A7D2919B}"/>
                  </a:ext>
                </a:extLst>
              </p:cNvPr>
              <p:cNvSpPr/>
              <p:nvPr/>
            </p:nvSpPr>
            <p:spPr>
              <a:xfrm>
                <a:off x="11186938" y="2621399"/>
                <a:ext cx="41823" cy="100253"/>
              </a:xfrm>
              <a:custGeom>
                <a:avLst/>
                <a:gdLst/>
                <a:ahLst/>
                <a:cxnLst/>
                <a:rect l="l" t="t" r="r" b="b"/>
                <a:pathLst>
                  <a:path w="3583" h="8587" fill="none" extrusionOk="0">
                    <a:moveTo>
                      <a:pt x="62" y="6115"/>
                    </a:moveTo>
                    <a:lnTo>
                      <a:pt x="2471" y="8586"/>
                    </a:lnTo>
                    <a:lnTo>
                      <a:pt x="2471" y="8586"/>
                    </a:lnTo>
                    <a:lnTo>
                      <a:pt x="2348" y="8339"/>
                    </a:lnTo>
                    <a:lnTo>
                      <a:pt x="1977" y="7721"/>
                    </a:lnTo>
                    <a:lnTo>
                      <a:pt x="1544" y="6733"/>
                    </a:lnTo>
                    <a:lnTo>
                      <a:pt x="1359" y="6177"/>
                    </a:lnTo>
                    <a:lnTo>
                      <a:pt x="1236" y="5498"/>
                    </a:lnTo>
                    <a:lnTo>
                      <a:pt x="1174" y="4880"/>
                    </a:lnTo>
                    <a:lnTo>
                      <a:pt x="1174" y="4200"/>
                    </a:lnTo>
                    <a:lnTo>
                      <a:pt x="1236" y="3459"/>
                    </a:lnTo>
                    <a:lnTo>
                      <a:pt x="1421" y="2718"/>
                    </a:lnTo>
                    <a:lnTo>
                      <a:pt x="1730" y="2038"/>
                    </a:lnTo>
                    <a:lnTo>
                      <a:pt x="2162" y="1359"/>
                    </a:lnTo>
                    <a:lnTo>
                      <a:pt x="2780" y="680"/>
                    </a:lnTo>
                    <a:lnTo>
                      <a:pt x="3151" y="309"/>
                    </a:lnTo>
                    <a:lnTo>
                      <a:pt x="3583" y="0"/>
                    </a:lnTo>
                    <a:lnTo>
                      <a:pt x="3583" y="0"/>
                    </a:lnTo>
                    <a:lnTo>
                      <a:pt x="3398" y="62"/>
                    </a:lnTo>
                    <a:lnTo>
                      <a:pt x="2965" y="247"/>
                    </a:lnTo>
                    <a:lnTo>
                      <a:pt x="2348" y="618"/>
                    </a:lnTo>
                    <a:lnTo>
                      <a:pt x="1977" y="865"/>
                    </a:lnTo>
                    <a:lnTo>
                      <a:pt x="1668" y="1174"/>
                    </a:lnTo>
                    <a:lnTo>
                      <a:pt x="1297" y="1544"/>
                    </a:lnTo>
                    <a:lnTo>
                      <a:pt x="989" y="1977"/>
                    </a:lnTo>
                    <a:lnTo>
                      <a:pt x="680" y="2471"/>
                    </a:lnTo>
                    <a:lnTo>
                      <a:pt x="433" y="3027"/>
                    </a:lnTo>
                    <a:lnTo>
                      <a:pt x="186" y="3706"/>
                    </a:lnTo>
                    <a:lnTo>
                      <a:pt x="62" y="4386"/>
                    </a:lnTo>
                    <a:lnTo>
                      <a:pt x="0" y="5251"/>
                    </a:lnTo>
                    <a:lnTo>
                      <a:pt x="62" y="6115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1" name="Google Shape;1249;p142">
                <a:extLst>
                  <a:ext uri="{FF2B5EF4-FFF2-40B4-BE49-F238E27FC236}">
                    <a16:creationId xmlns:a16="http://schemas.microsoft.com/office/drawing/2014/main" id="{421D290E-A614-F2E5-49BE-C91EF9557905}"/>
                  </a:ext>
                </a:extLst>
              </p:cNvPr>
              <p:cNvSpPr/>
              <p:nvPr/>
            </p:nvSpPr>
            <p:spPr>
              <a:xfrm>
                <a:off x="11260456" y="2643022"/>
                <a:ext cx="127639" cy="140637"/>
              </a:xfrm>
              <a:custGeom>
                <a:avLst/>
                <a:gdLst/>
                <a:ahLst/>
                <a:cxnLst/>
                <a:rect l="l" t="t" r="r" b="b"/>
                <a:pathLst>
                  <a:path w="10935" h="12046" extrusionOk="0">
                    <a:moveTo>
                      <a:pt x="10934" y="0"/>
                    </a:moveTo>
                    <a:lnTo>
                      <a:pt x="9822" y="433"/>
                    </a:lnTo>
                    <a:lnTo>
                      <a:pt x="8587" y="989"/>
                    </a:lnTo>
                    <a:lnTo>
                      <a:pt x="7166" y="1730"/>
                    </a:lnTo>
                    <a:lnTo>
                      <a:pt x="6425" y="2224"/>
                    </a:lnTo>
                    <a:lnTo>
                      <a:pt x="5684" y="2718"/>
                    </a:lnTo>
                    <a:lnTo>
                      <a:pt x="4942" y="3274"/>
                    </a:lnTo>
                    <a:lnTo>
                      <a:pt x="4201" y="3892"/>
                    </a:lnTo>
                    <a:lnTo>
                      <a:pt x="3584" y="4509"/>
                    </a:lnTo>
                    <a:lnTo>
                      <a:pt x="2966" y="5251"/>
                    </a:lnTo>
                    <a:lnTo>
                      <a:pt x="2410" y="5992"/>
                    </a:lnTo>
                    <a:lnTo>
                      <a:pt x="2039" y="6733"/>
                    </a:lnTo>
                    <a:lnTo>
                      <a:pt x="1" y="12045"/>
                    </a:lnTo>
                    <a:lnTo>
                      <a:pt x="3089" y="11736"/>
                    </a:lnTo>
                    <a:lnTo>
                      <a:pt x="3089" y="11428"/>
                    </a:lnTo>
                    <a:lnTo>
                      <a:pt x="3151" y="10501"/>
                    </a:lnTo>
                    <a:lnTo>
                      <a:pt x="3275" y="9883"/>
                    </a:lnTo>
                    <a:lnTo>
                      <a:pt x="3460" y="9142"/>
                    </a:lnTo>
                    <a:lnTo>
                      <a:pt x="3645" y="8339"/>
                    </a:lnTo>
                    <a:lnTo>
                      <a:pt x="3954" y="7474"/>
                    </a:lnTo>
                    <a:lnTo>
                      <a:pt x="4387" y="6548"/>
                    </a:lnTo>
                    <a:lnTo>
                      <a:pt x="4881" y="5559"/>
                    </a:lnTo>
                    <a:lnTo>
                      <a:pt x="5560" y="4571"/>
                    </a:lnTo>
                    <a:lnTo>
                      <a:pt x="6301" y="3583"/>
                    </a:lnTo>
                    <a:lnTo>
                      <a:pt x="7228" y="2656"/>
                    </a:lnTo>
                    <a:lnTo>
                      <a:pt x="8278" y="1730"/>
                    </a:lnTo>
                    <a:lnTo>
                      <a:pt x="8896" y="1236"/>
                    </a:lnTo>
                    <a:lnTo>
                      <a:pt x="9513" y="803"/>
                    </a:lnTo>
                    <a:lnTo>
                      <a:pt x="10193" y="371"/>
                    </a:lnTo>
                    <a:lnTo>
                      <a:pt x="10934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2" name="Google Shape;1250;p142">
                <a:extLst>
                  <a:ext uri="{FF2B5EF4-FFF2-40B4-BE49-F238E27FC236}">
                    <a16:creationId xmlns:a16="http://schemas.microsoft.com/office/drawing/2014/main" id="{E07FDB4B-F24A-70C5-ED9C-182A09D329A5}"/>
                  </a:ext>
                </a:extLst>
              </p:cNvPr>
              <p:cNvSpPr/>
              <p:nvPr/>
            </p:nvSpPr>
            <p:spPr>
              <a:xfrm>
                <a:off x="11260456" y="2643022"/>
                <a:ext cx="127639" cy="140637"/>
              </a:xfrm>
              <a:custGeom>
                <a:avLst/>
                <a:gdLst/>
                <a:ahLst/>
                <a:cxnLst/>
                <a:rect l="l" t="t" r="r" b="b"/>
                <a:pathLst>
                  <a:path w="10935" h="12046" fill="none" extrusionOk="0">
                    <a:moveTo>
                      <a:pt x="2039" y="6733"/>
                    </a:moveTo>
                    <a:lnTo>
                      <a:pt x="1" y="12045"/>
                    </a:lnTo>
                    <a:lnTo>
                      <a:pt x="3089" y="11736"/>
                    </a:lnTo>
                    <a:lnTo>
                      <a:pt x="3089" y="11736"/>
                    </a:lnTo>
                    <a:lnTo>
                      <a:pt x="3089" y="11428"/>
                    </a:lnTo>
                    <a:lnTo>
                      <a:pt x="3151" y="10501"/>
                    </a:lnTo>
                    <a:lnTo>
                      <a:pt x="3275" y="9883"/>
                    </a:lnTo>
                    <a:lnTo>
                      <a:pt x="3460" y="9142"/>
                    </a:lnTo>
                    <a:lnTo>
                      <a:pt x="3645" y="8339"/>
                    </a:lnTo>
                    <a:lnTo>
                      <a:pt x="3954" y="7474"/>
                    </a:lnTo>
                    <a:lnTo>
                      <a:pt x="4387" y="6548"/>
                    </a:lnTo>
                    <a:lnTo>
                      <a:pt x="4881" y="5559"/>
                    </a:lnTo>
                    <a:lnTo>
                      <a:pt x="5560" y="4571"/>
                    </a:lnTo>
                    <a:lnTo>
                      <a:pt x="6301" y="3583"/>
                    </a:lnTo>
                    <a:lnTo>
                      <a:pt x="7228" y="2656"/>
                    </a:lnTo>
                    <a:lnTo>
                      <a:pt x="8278" y="1730"/>
                    </a:lnTo>
                    <a:lnTo>
                      <a:pt x="8896" y="1236"/>
                    </a:lnTo>
                    <a:lnTo>
                      <a:pt x="9513" y="803"/>
                    </a:lnTo>
                    <a:lnTo>
                      <a:pt x="10193" y="371"/>
                    </a:lnTo>
                    <a:lnTo>
                      <a:pt x="10934" y="0"/>
                    </a:lnTo>
                    <a:lnTo>
                      <a:pt x="10934" y="0"/>
                    </a:lnTo>
                    <a:lnTo>
                      <a:pt x="9822" y="433"/>
                    </a:lnTo>
                    <a:lnTo>
                      <a:pt x="8587" y="989"/>
                    </a:lnTo>
                    <a:lnTo>
                      <a:pt x="7166" y="1730"/>
                    </a:lnTo>
                    <a:lnTo>
                      <a:pt x="6425" y="2224"/>
                    </a:lnTo>
                    <a:lnTo>
                      <a:pt x="5684" y="2718"/>
                    </a:lnTo>
                    <a:lnTo>
                      <a:pt x="4942" y="3274"/>
                    </a:lnTo>
                    <a:lnTo>
                      <a:pt x="4201" y="3892"/>
                    </a:lnTo>
                    <a:lnTo>
                      <a:pt x="3584" y="4509"/>
                    </a:lnTo>
                    <a:lnTo>
                      <a:pt x="2966" y="5251"/>
                    </a:lnTo>
                    <a:lnTo>
                      <a:pt x="2410" y="5992"/>
                    </a:lnTo>
                    <a:lnTo>
                      <a:pt x="2039" y="6733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3" name="Google Shape;1251;p142">
                <a:extLst>
                  <a:ext uri="{FF2B5EF4-FFF2-40B4-BE49-F238E27FC236}">
                    <a16:creationId xmlns:a16="http://schemas.microsoft.com/office/drawing/2014/main" id="{D841B146-C627-54C0-B18E-91D747AB487C}"/>
                  </a:ext>
                </a:extLst>
              </p:cNvPr>
              <p:cNvSpPr/>
              <p:nvPr/>
            </p:nvSpPr>
            <p:spPr>
              <a:xfrm>
                <a:off x="11065120" y="2332351"/>
                <a:ext cx="374209" cy="373577"/>
              </a:xfrm>
              <a:custGeom>
                <a:avLst/>
                <a:gdLst/>
                <a:ahLst/>
                <a:cxnLst/>
                <a:rect l="l" t="t" r="r" b="b"/>
                <a:pathLst>
                  <a:path w="32059" h="31998" extrusionOk="0">
                    <a:moveTo>
                      <a:pt x="15196" y="0"/>
                    </a:moveTo>
                    <a:lnTo>
                      <a:pt x="14393" y="62"/>
                    </a:lnTo>
                    <a:lnTo>
                      <a:pt x="13590" y="186"/>
                    </a:lnTo>
                    <a:lnTo>
                      <a:pt x="12787" y="309"/>
                    </a:lnTo>
                    <a:lnTo>
                      <a:pt x="12045" y="494"/>
                    </a:lnTo>
                    <a:lnTo>
                      <a:pt x="11242" y="742"/>
                    </a:lnTo>
                    <a:lnTo>
                      <a:pt x="10501" y="989"/>
                    </a:lnTo>
                    <a:lnTo>
                      <a:pt x="9822" y="1236"/>
                    </a:lnTo>
                    <a:lnTo>
                      <a:pt x="9080" y="1606"/>
                    </a:lnTo>
                    <a:lnTo>
                      <a:pt x="8401" y="1915"/>
                    </a:lnTo>
                    <a:lnTo>
                      <a:pt x="7721" y="2348"/>
                    </a:lnTo>
                    <a:lnTo>
                      <a:pt x="7104" y="2718"/>
                    </a:lnTo>
                    <a:lnTo>
                      <a:pt x="5868" y="3645"/>
                    </a:lnTo>
                    <a:lnTo>
                      <a:pt x="4695" y="4695"/>
                    </a:lnTo>
                    <a:lnTo>
                      <a:pt x="3644" y="5807"/>
                    </a:lnTo>
                    <a:lnTo>
                      <a:pt x="2718" y="7042"/>
                    </a:lnTo>
                    <a:lnTo>
                      <a:pt x="2347" y="7722"/>
                    </a:lnTo>
                    <a:lnTo>
                      <a:pt x="1915" y="8339"/>
                    </a:lnTo>
                    <a:lnTo>
                      <a:pt x="1606" y="9081"/>
                    </a:lnTo>
                    <a:lnTo>
                      <a:pt x="1297" y="9760"/>
                    </a:lnTo>
                    <a:lnTo>
                      <a:pt x="988" y="10501"/>
                    </a:lnTo>
                    <a:lnTo>
                      <a:pt x="741" y="11242"/>
                    </a:lnTo>
                    <a:lnTo>
                      <a:pt x="494" y="11984"/>
                    </a:lnTo>
                    <a:lnTo>
                      <a:pt x="309" y="12787"/>
                    </a:lnTo>
                    <a:lnTo>
                      <a:pt x="185" y="13528"/>
                    </a:lnTo>
                    <a:lnTo>
                      <a:pt x="124" y="14331"/>
                    </a:lnTo>
                    <a:lnTo>
                      <a:pt x="62" y="15196"/>
                    </a:lnTo>
                    <a:lnTo>
                      <a:pt x="0" y="15999"/>
                    </a:lnTo>
                    <a:lnTo>
                      <a:pt x="62" y="16802"/>
                    </a:lnTo>
                    <a:lnTo>
                      <a:pt x="124" y="17605"/>
                    </a:lnTo>
                    <a:lnTo>
                      <a:pt x="185" y="18408"/>
                    </a:lnTo>
                    <a:lnTo>
                      <a:pt x="309" y="19211"/>
                    </a:lnTo>
                    <a:lnTo>
                      <a:pt x="494" y="20014"/>
                    </a:lnTo>
                    <a:lnTo>
                      <a:pt x="741" y="20755"/>
                    </a:lnTo>
                    <a:lnTo>
                      <a:pt x="988" y="21496"/>
                    </a:lnTo>
                    <a:lnTo>
                      <a:pt x="1297" y="22238"/>
                    </a:lnTo>
                    <a:lnTo>
                      <a:pt x="1606" y="22917"/>
                    </a:lnTo>
                    <a:lnTo>
                      <a:pt x="1915" y="23596"/>
                    </a:lnTo>
                    <a:lnTo>
                      <a:pt x="2347" y="24276"/>
                    </a:lnTo>
                    <a:lnTo>
                      <a:pt x="2718" y="24955"/>
                    </a:lnTo>
                    <a:lnTo>
                      <a:pt x="3644" y="26129"/>
                    </a:lnTo>
                    <a:lnTo>
                      <a:pt x="4695" y="27303"/>
                    </a:lnTo>
                    <a:lnTo>
                      <a:pt x="5868" y="28353"/>
                    </a:lnTo>
                    <a:lnTo>
                      <a:pt x="7104" y="29218"/>
                    </a:lnTo>
                    <a:lnTo>
                      <a:pt x="7721" y="29650"/>
                    </a:lnTo>
                    <a:lnTo>
                      <a:pt x="8401" y="30021"/>
                    </a:lnTo>
                    <a:lnTo>
                      <a:pt x="9080" y="30391"/>
                    </a:lnTo>
                    <a:lnTo>
                      <a:pt x="9822" y="30700"/>
                    </a:lnTo>
                    <a:lnTo>
                      <a:pt x="10501" y="31009"/>
                    </a:lnTo>
                    <a:lnTo>
                      <a:pt x="11242" y="31256"/>
                    </a:lnTo>
                    <a:lnTo>
                      <a:pt x="12045" y="31441"/>
                    </a:lnTo>
                    <a:lnTo>
                      <a:pt x="12787" y="31627"/>
                    </a:lnTo>
                    <a:lnTo>
                      <a:pt x="13590" y="31812"/>
                    </a:lnTo>
                    <a:lnTo>
                      <a:pt x="14393" y="31874"/>
                    </a:lnTo>
                    <a:lnTo>
                      <a:pt x="15196" y="31935"/>
                    </a:lnTo>
                    <a:lnTo>
                      <a:pt x="16060" y="31997"/>
                    </a:lnTo>
                    <a:lnTo>
                      <a:pt x="16863" y="31935"/>
                    </a:lnTo>
                    <a:lnTo>
                      <a:pt x="17666" y="31874"/>
                    </a:lnTo>
                    <a:lnTo>
                      <a:pt x="18469" y="31812"/>
                    </a:lnTo>
                    <a:lnTo>
                      <a:pt x="19272" y="31627"/>
                    </a:lnTo>
                    <a:lnTo>
                      <a:pt x="20014" y="31441"/>
                    </a:lnTo>
                    <a:lnTo>
                      <a:pt x="20817" y="31256"/>
                    </a:lnTo>
                    <a:lnTo>
                      <a:pt x="21558" y="31009"/>
                    </a:lnTo>
                    <a:lnTo>
                      <a:pt x="22299" y="30700"/>
                    </a:lnTo>
                    <a:lnTo>
                      <a:pt x="22979" y="30391"/>
                    </a:lnTo>
                    <a:lnTo>
                      <a:pt x="23658" y="30021"/>
                    </a:lnTo>
                    <a:lnTo>
                      <a:pt x="24338" y="29650"/>
                    </a:lnTo>
                    <a:lnTo>
                      <a:pt x="25017" y="29218"/>
                    </a:lnTo>
                    <a:lnTo>
                      <a:pt x="26252" y="28353"/>
                    </a:lnTo>
                    <a:lnTo>
                      <a:pt x="27364" y="27303"/>
                    </a:lnTo>
                    <a:lnTo>
                      <a:pt x="28414" y="26129"/>
                    </a:lnTo>
                    <a:lnTo>
                      <a:pt x="29341" y="24955"/>
                    </a:lnTo>
                    <a:lnTo>
                      <a:pt x="29712" y="24276"/>
                    </a:lnTo>
                    <a:lnTo>
                      <a:pt x="30144" y="23596"/>
                    </a:lnTo>
                    <a:lnTo>
                      <a:pt x="30453" y="22917"/>
                    </a:lnTo>
                    <a:lnTo>
                      <a:pt x="30823" y="22238"/>
                    </a:lnTo>
                    <a:lnTo>
                      <a:pt x="31071" y="21496"/>
                    </a:lnTo>
                    <a:lnTo>
                      <a:pt x="31318" y="20755"/>
                    </a:lnTo>
                    <a:lnTo>
                      <a:pt x="31565" y="20014"/>
                    </a:lnTo>
                    <a:lnTo>
                      <a:pt x="31750" y="19211"/>
                    </a:lnTo>
                    <a:lnTo>
                      <a:pt x="31874" y="18408"/>
                    </a:lnTo>
                    <a:lnTo>
                      <a:pt x="31997" y="17605"/>
                    </a:lnTo>
                    <a:lnTo>
                      <a:pt x="32059" y="16802"/>
                    </a:lnTo>
                    <a:lnTo>
                      <a:pt x="32059" y="15999"/>
                    </a:lnTo>
                    <a:lnTo>
                      <a:pt x="32059" y="15196"/>
                    </a:lnTo>
                    <a:lnTo>
                      <a:pt x="31997" y="14331"/>
                    </a:lnTo>
                    <a:lnTo>
                      <a:pt x="31874" y="13528"/>
                    </a:lnTo>
                    <a:lnTo>
                      <a:pt x="31750" y="12787"/>
                    </a:lnTo>
                    <a:lnTo>
                      <a:pt x="31565" y="11984"/>
                    </a:lnTo>
                    <a:lnTo>
                      <a:pt x="31318" y="11242"/>
                    </a:lnTo>
                    <a:lnTo>
                      <a:pt x="31071" y="10501"/>
                    </a:lnTo>
                    <a:lnTo>
                      <a:pt x="30823" y="9760"/>
                    </a:lnTo>
                    <a:lnTo>
                      <a:pt x="30453" y="9081"/>
                    </a:lnTo>
                    <a:lnTo>
                      <a:pt x="30144" y="8339"/>
                    </a:lnTo>
                    <a:lnTo>
                      <a:pt x="29712" y="7722"/>
                    </a:lnTo>
                    <a:lnTo>
                      <a:pt x="29341" y="7042"/>
                    </a:lnTo>
                    <a:lnTo>
                      <a:pt x="28414" y="5807"/>
                    </a:lnTo>
                    <a:lnTo>
                      <a:pt x="27364" y="4695"/>
                    </a:lnTo>
                    <a:lnTo>
                      <a:pt x="26252" y="3645"/>
                    </a:lnTo>
                    <a:lnTo>
                      <a:pt x="25017" y="2718"/>
                    </a:lnTo>
                    <a:lnTo>
                      <a:pt x="24338" y="2348"/>
                    </a:lnTo>
                    <a:lnTo>
                      <a:pt x="23658" y="1915"/>
                    </a:lnTo>
                    <a:lnTo>
                      <a:pt x="22979" y="1606"/>
                    </a:lnTo>
                    <a:lnTo>
                      <a:pt x="22299" y="1236"/>
                    </a:lnTo>
                    <a:lnTo>
                      <a:pt x="21558" y="989"/>
                    </a:lnTo>
                    <a:lnTo>
                      <a:pt x="20817" y="742"/>
                    </a:lnTo>
                    <a:lnTo>
                      <a:pt x="20014" y="494"/>
                    </a:lnTo>
                    <a:lnTo>
                      <a:pt x="19272" y="309"/>
                    </a:lnTo>
                    <a:lnTo>
                      <a:pt x="18469" y="186"/>
                    </a:lnTo>
                    <a:lnTo>
                      <a:pt x="17666" y="62"/>
                    </a:lnTo>
                    <a:lnTo>
                      <a:pt x="16863" y="0"/>
                    </a:lnTo>
                    <a:close/>
                  </a:path>
                </a:pathLst>
              </a:custGeom>
              <a:solidFill>
                <a:srgbClr val="FEBF7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4" name="Google Shape;1252;p142">
                <a:extLst>
                  <a:ext uri="{FF2B5EF4-FFF2-40B4-BE49-F238E27FC236}">
                    <a16:creationId xmlns:a16="http://schemas.microsoft.com/office/drawing/2014/main" id="{D8D9BD70-2A0A-5865-D2EC-0C132975D4D4}"/>
                  </a:ext>
                </a:extLst>
              </p:cNvPr>
              <p:cNvSpPr/>
              <p:nvPr/>
            </p:nvSpPr>
            <p:spPr>
              <a:xfrm>
                <a:off x="11065120" y="2332351"/>
                <a:ext cx="374209" cy="373577"/>
              </a:xfrm>
              <a:custGeom>
                <a:avLst/>
                <a:gdLst/>
                <a:ahLst/>
                <a:cxnLst/>
                <a:rect l="l" t="t" r="r" b="b"/>
                <a:pathLst>
                  <a:path w="32059" h="31998" fill="none" extrusionOk="0">
                    <a:moveTo>
                      <a:pt x="16060" y="0"/>
                    </a:moveTo>
                    <a:lnTo>
                      <a:pt x="16060" y="0"/>
                    </a:lnTo>
                    <a:lnTo>
                      <a:pt x="15196" y="0"/>
                    </a:lnTo>
                    <a:lnTo>
                      <a:pt x="14393" y="62"/>
                    </a:lnTo>
                    <a:lnTo>
                      <a:pt x="13590" y="186"/>
                    </a:lnTo>
                    <a:lnTo>
                      <a:pt x="12787" y="309"/>
                    </a:lnTo>
                    <a:lnTo>
                      <a:pt x="12045" y="494"/>
                    </a:lnTo>
                    <a:lnTo>
                      <a:pt x="11242" y="742"/>
                    </a:lnTo>
                    <a:lnTo>
                      <a:pt x="10501" y="989"/>
                    </a:lnTo>
                    <a:lnTo>
                      <a:pt x="9822" y="1236"/>
                    </a:lnTo>
                    <a:lnTo>
                      <a:pt x="9080" y="1606"/>
                    </a:lnTo>
                    <a:lnTo>
                      <a:pt x="8401" y="1915"/>
                    </a:lnTo>
                    <a:lnTo>
                      <a:pt x="7721" y="2348"/>
                    </a:lnTo>
                    <a:lnTo>
                      <a:pt x="7104" y="2718"/>
                    </a:lnTo>
                    <a:lnTo>
                      <a:pt x="5868" y="3645"/>
                    </a:lnTo>
                    <a:lnTo>
                      <a:pt x="4695" y="4695"/>
                    </a:lnTo>
                    <a:lnTo>
                      <a:pt x="3644" y="5807"/>
                    </a:lnTo>
                    <a:lnTo>
                      <a:pt x="2718" y="7042"/>
                    </a:lnTo>
                    <a:lnTo>
                      <a:pt x="2347" y="7722"/>
                    </a:lnTo>
                    <a:lnTo>
                      <a:pt x="1915" y="8339"/>
                    </a:lnTo>
                    <a:lnTo>
                      <a:pt x="1606" y="9081"/>
                    </a:lnTo>
                    <a:lnTo>
                      <a:pt x="1297" y="9760"/>
                    </a:lnTo>
                    <a:lnTo>
                      <a:pt x="988" y="10501"/>
                    </a:lnTo>
                    <a:lnTo>
                      <a:pt x="741" y="11242"/>
                    </a:lnTo>
                    <a:lnTo>
                      <a:pt x="494" y="11984"/>
                    </a:lnTo>
                    <a:lnTo>
                      <a:pt x="309" y="12787"/>
                    </a:lnTo>
                    <a:lnTo>
                      <a:pt x="185" y="13528"/>
                    </a:lnTo>
                    <a:lnTo>
                      <a:pt x="124" y="14331"/>
                    </a:lnTo>
                    <a:lnTo>
                      <a:pt x="62" y="15196"/>
                    </a:lnTo>
                    <a:lnTo>
                      <a:pt x="0" y="15999"/>
                    </a:lnTo>
                    <a:lnTo>
                      <a:pt x="0" y="15999"/>
                    </a:lnTo>
                    <a:lnTo>
                      <a:pt x="62" y="16802"/>
                    </a:lnTo>
                    <a:lnTo>
                      <a:pt x="124" y="17605"/>
                    </a:lnTo>
                    <a:lnTo>
                      <a:pt x="185" y="18408"/>
                    </a:lnTo>
                    <a:lnTo>
                      <a:pt x="309" y="19211"/>
                    </a:lnTo>
                    <a:lnTo>
                      <a:pt x="494" y="20014"/>
                    </a:lnTo>
                    <a:lnTo>
                      <a:pt x="741" y="20755"/>
                    </a:lnTo>
                    <a:lnTo>
                      <a:pt x="988" y="21496"/>
                    </a:lnTo>
                    <a:lnTo>
                      <a:pt x="1297" y="22238"/>
                    </a:lnTo>
                    <a:lnTo>
                      <a:pt x="1606" y="22917"/>
                    </a:lnTo>
                    <a:lnTo>
                      <a:pt x="1915" y="23596"/>
                    </a:lnTo>
                    <a:lnTo>
                      <a:pt x="2347" y="24276"/>
                    </a:lnTo>
                    <a:lnTo>
                      <a:pt x="2718" y="24955"/>
                    </a:lnTo>
                    <a:lnTo>
                      <a:pt x="3644" y="26129"/>
                    </a:lnTo>
                    <a:lnTo>
                      <a:pt x="4695" y="27303"/>
                    </a:lnTo>
                    <a:lnTo>
                      <a:pt x="5868" y="28353"/>
                    </a:lnTo>
                    <a:lnTo>
                      <a:pt x="7104" y="29218"/>
                    </a:lnTo>
                    <a:lnTo>
                      <a:pt x="7721" y="29650"/>
                    </a:lnTo>
                    <a:lnTo>
                      <a:pt x="8401" y="30021"/>
                    </a:lnTo>
                    <a:lnTo>
                      <a:pt x="9080" y="30391"/>
                    </a:lnTo>
                    <a:lnTo>
                      <a:pt x="9822" y="30700"/>
                    </a:lnTo>
                    <a:lnTo>
                      <a:pt x="10501" y="31009"/>
                    </a:lnTo>
                    <a:lnTo>
                      <a:pt x="11242" y="31256"/>
                    </a:lnTo>
                    <a:lnTo>
                      <a:pt x="12045" y="31441"/>
                    </a:lnTo>
                    <a:lnTo>
                      <a:pt x="12787" y="31627"/>
                    </a:lnTo>
                    <a:lnTo>
                      <a:pt x="13590" y="31812"/>
                    </a:lnTo>
                    <a:lnTo>
                      <a:pt x="14393" y="31874"/>
                    </a:lnTo>
                    <a:lnTo>
                      <a:pt x="15196" y="31935"/>
                    </a:lnTo>
                    <a:lnTo>
                      <a:pt x="16060" y="31997"/>
                    </a:lnTo>
                    <a:lnTo>
                      <a:pt x="16060" y="31997"/>
                    </a:lnTo>
                    <a:lnTo>
                      <a:pt x="16863" y="31935"/>
                    </a:lnTo>
                    <a:lnTo>
                      <a:pt x="17666" y="31874"/>
                    </a:lnTo>
                    <a:lnTo>
                      <a:pt x="18469" y="31812"/>
                    </a:lnTo>
                    <a:lnTo>
                      <a:pt x="19272" y="31627"/>
                    </a:lnTo>
                    <a:lnTo>
                      <a:pt x="20014" y="31441"/>
                    </a:lnTo>
                    <a:lnTo>
                      <a:pt x="20817" y="31256"/>
                    </a:lnTo>
                    <a:lnTo>
                      <a:pt x="21558" y="31009"/>
                    </a:lnTo>
                    <a:lnTo>
                      <a:pt x="22299" y="30700"/>
                    </a:lnTo>
                    <a:lnTo>
                      <a:pt x="22979" y="30391"/>
                    </a:lnTo>
                    <a:lnTo>
                      <a:pt x="23658" y="30021"/>
                    </a:lnTo>
                    <a:lnTo>
                      <a:pt x="24338" y="29650"/>
                    </a:lnTo>
                    <a:lnTo>
                      <a:pt x="25017" y="29218"/>
                    </a:lnTo>
                    <a:lnTo>
                      <a:pt x="26252" y="28353"/>
                    </a:lnTo>
                    <a:lnTo>
                      <a:pt x="27364" y="27303"/>
                    </a:lnTo>
                    <a:lnTo>
                      <a:pt x="28414" y="26129"/>
                    </a:lnTo>
                    <a:lnTo>
                      <a:pt x="29341" y="24955"/>
                    </a:lnTo>
                    <a:lnTo>
                      <a:pt x="29712" y="24276"/>
                    </a:lnTo>
                    <a:lnTo>
                      <a:pt x="30144" y="23596"/>
                    </a:lnTo>
                    <a:lnTo>
                      <a:pt x="30453" y="22917"/>
                    </a:lnTo>
                    <a:lnTo>
                      <a:pt x="30823" y="22238"/>
                    </a:lnTo>
                    <a:lnTo>
                      <a:pt x="31071" y="21496"/>
                    </a:lnTo>
                    <a:lnTo>
                      <a:pt x="31318" y="20755"/>
                    </a:lnTo>
                    <a:lnTo>
                      <a:pt x="31565" y="20014"/>
                    </a:lnTo>
                    <a:lnTo>
                      <a:pt x="31750" y="19211"/>
                    </a:lnTo>
                    <a:lnTo>
                      <a:pt x="31874" y="18408"/>
                    </a:lnTo>
                    <a:lnTo>
                      <a:pt x="31997" y="17605"/>
                    </a:lnTo>
                    <a:lnTo>
                      <a:pt x="32059" y="16802"/>
                    </a:lnTo>
                    <a:lnTo>
                      <a:pt x="32059" y="15999"/>
                    </a:lnTo>
                    <a:lnTo>
                      <a:pt x="32059" y="15999"/>
                    </a:lnTo>
                    <a:lnTo>
                      <a:pt x="32059" y="15196"/>
                    </a:lnTo>
                    <a:lnTo>
                      <a:pt x="31997" y="14331"/>
                    </a:lnTo>
                    <a:lnTo>
                      <a:pt x="31874" y="13528"/>
                    </a:lnTo>
                    <a:lnTo>
                      <a:pt x="31750" y="12787"/>
                    </a:lnTo>
                    <a:lnTo>
                      <a:pt x="31565" y="11984"/>
                    </a:lnTo>
                    <a:lnTo>
                      <a:pt x="31318" y="11242"/>
                    </a:lnTo>
                    <a:lnTo>
                      <a:pt x="31071" y="10501"/>
                    </a:lnTo>
                    <a:lnTo>
                      <a:pt x="30823" y="9760"/>
                    </a:lnTo>
                    <a:lnTo>
                      <a:pt x="30453" y="9081"/>
                    </a:lnTo>
                    <a:lnTo>
                      <a:pt x="30144" y="8339"/>
                    </a:lnTo>
                    <a:lnTo>
                      <a:pt x="29712" y="7722"/>
                    </a:lnTo>
                    <a:lnTo>
                      <a:pt x="29341" y="7042"/>
                    </a:lnTo>
                    <a:lnTo>
                      <a:pt x="28414" y="5807"/>
                    </a:lnTo>
                    <a:lnTo>
                      <a:pt x="27364" y="4695"/>
                    </a:lnTo>
                    <a:lnTo>
                      <a:pt x="26252" y="3645"/>
                    </a:lnTo>
                    <a:lnTo>
                      <a:pt x="25017" y="2718"/>
                    </a:lnTo>
                    <a:lnTo>
                      <a:pt x="24338" y="2348"/>
                    </a:lnTo>
                    <a:lnTo>
                      <a:pt x="23658" y="1915"/>
                    </a:lnTo>
                    <a:lnTo>
                      <a:pt x="22979" y="1606"/>
                    </a:lnTo>
                    <a:lnTo>
                      <a:pt x="22299" y="1236"/>
                    </a:lnTo>
                    <a:lnTo>
                      <a:pt x="21558" y="989"/>
                    </a:lnTo>
                    <a:lnTo>
                      <a:pt x="20817" y="742"/>
                    </a:lnTo>
                    <a:lnTo>
                      <a:pt x="20014" y="494"/>
                    </a:lnTo>
                    <a:lnTo>
                      <a:pt x="19272" y="309"/>
                    </a:lnTo>
                    <a:lnTo>
                      <a:pt x="18469" y="186"/>
                    </a:lnTo>
                    <a:lnTo>
                      <a:pt x="17666" y="62"/>
                    </a:lnTo>
                    <a:lnTo>
                      <a:pt x="16863" y="0"/>
                    </a:lnTo>
                    <a:lnTo>
                      <a:pt x="1606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5" name="Google Shape;1253;p142">
                <a:extLst>
                  <a:ext uri="{FF2B5EF4-FFF2-40B4-BE49-F238E27FC236}">
                    <a16:creationId xmlns:a16="http://schemas.microsoft.com/office/drawing/2014/main" id="{C2FA99AC-2DA2-A5B9-F5E2-CCB32716F2D4}"/>
                  </a:ext>
                </a:extLst>
              </p:cNvPr>
              <p:cNvSpPr/>
              <p:nvPr/>
            </p:nvSpPr>
            <p:spPr>
              <a:xfrm>
                <a:off x="10817155" y="2252335"/>
                <a:ext cx="408818" cy="388719"/>
              </a:xfrm>
              <a:custGeom>
                <a:avLst/>
                <a:gdLst/>
                <a:ahLst/>
                <a:cxnLst/>
                <a:rect l="l" t="t" r="r" b="b"/>
                <a:pathLst>
                  <a:path w="35024" h="33295" extrusionOk="0">
                    <a:moveTo>
                      <a:pt x="17481" y="1"/>
                    </a:moveTo>
                    <a:lnTo>
                      <a:pt x="16616" y="63"/>
                    </a:lnTo>
                    <a:lnTo>
                      <a:pt x="15690" y="124"/>
                    </a:lnTo>
                    <a:lnTo>
                      <a:pt x="14825" y="186"/>
                    </a:lnTo>
                    <a:lnTo>
                      <a:pt x="13960" y="371"/>
                    </a:lnTo>
                    <a:lnTo>
                      <a:pt x="13157" y="557"/>
                    </a:lnTo>
                    <a:lnTo>
                      <a:pt x="12292" y="742"/>
                    </a:lnTo>
                    <a:lnTo>
                      <a:pt x="11489" y="1051"/>
                    </a:lnTo>
                    <a:lnTo>
                      <a:pt x="10686" y="1298"/>
                    </a:lnTo>
                    <a:lnTo>
                      <a:pt x="9945" y="1669"/>
                    </a:lnTo>
                    <a:lnTo>
                      <a:pt x="9142" y="2039"/>
                    </a:lnTo>
                    <a:lnTo>
                      <a:pt x="8401" y="2410"/>
                    </a:lnTo>
                    <a:lnTo>
                      <a:pt x="7721" y="2842"/>
                    </a:lnTo>
                    <a:lnTo>
                      <a:pt x="7042" y="3336"/>
                    </a:lnTo>
                    <a:lnTo>
                      <a:pt x="6362" y="3831"/>
                    </a:lnTo>
                    <a:lnTo>
                      <a:pt x="5745" y="4325"/>
                    </a:lnTo>
                    <a:lnTo>
                      <a:pt x="5127" y="4881"/>
                    </a:lnTo>
                    <a:lnTo>
                      <a:pt x="4571" y="5437"/>
                    </a:lnTo>
                    <a:lnTo>
                      <a:pt x="4015" y="6054"/>
                    </a:lnTo>
                    <a:lnTo>
                      <a:pt x="3459" y="6672"/>
                    </a:lnTo>
                    <a:lnTo>
                      <a:pt x="2965" y="7351"/>
                    </a:lnTo>
                    <a:lnTo>
                      <a:pt x="2533" y="8031"/>
                    </a:lnTo>
                    <a:lnTo>
                      <a:pt x="2100" y="8710"/>
                    </a:lnTo>
                    <a:lnTo>
                      <a:pt x="1730" y="9452"/>
                    </a:lnTo>
                    <a:lnTo>
                      <a:pt x="1359" y="10193"/>
                    </a:lnTo>
                    <a:lnTo>
                      <a:pt x="1050" y="10934"/>
                    </a:lnTo>
                    <a:lnTo>
                      <a:pt x="803" y="11675"/>
                    </a:lnTo>
                    <a:lnTo>
                      <a:pt x="556" y="12478"/>
                    </a:lnTo>
                    <a:lnTo>
                      <a:pt x="371" y="13281"/>
                    </a:lnTo>
                    <a:lnTo>
                      <a:pt x="185" y="14084"/>
                    </a:lnTo>
                    <a:lnTo>
                      <a:pt x="124" y="14949"/>
                    </a:lnTo>
                    <a:lnTo>
                      <a:pt x="0" y="15814"/>
                    </a:lnTo>
                    <a:lnTo>
                      <a:pt x="0" y="16679"/>
                    </a:lnTo>
                    <a:lnTo>
                      <a:pt x="0" y="17482"/>
                    </a:lnTo>
                    <a:lnTo>
                      <a:pt x="124" y="18347"/>
                    </a:lnTo>
                    <a:lnTo>
                      <a:pt x="185" y="19211"/>
                    </a:lnTo>
                    <a:lnTo>
                      <a:pt x="371" y="20014"/>
                    </a:lnTo>
                    <a:lnTo>
                      <a:pt x="556" y="20817"/>
                    </a:lnTo>
                    <a:lnTo>
                      <a:pt x="803" y="21620"/>
                    </a:lnTo>
                    <a:lnTo>
                      <a:pt x="1050" y="22362"/>
                    </a:lnTo>
                    <a:lnTo>
                      <a:pt x="1359" y="23103"/>
                    </a:lnTo>
                    <a:lnTo>
                      <a:pt x="1730" y="23844"/>
                    </a:lnTo>
                    <a:lnTo>
                      <a:pt x="2100" y="24585"/>
                    </a:lnTo>
                    <a:lnTo>
                      <a:pt x="2533" y="25265"/>
                    </a:lnTo>
                    <a:lnTo>
                      <a:pt x="2965" y="25944"/>
                    </a:lnTo>
                    <a:lnTo>
                      <a:pt x="3459" y="26624"/>
                    </a:lnTo>
                    <a:lnTo>
                      <a:pt x="4015" y="27241"/>
                    </a:lnTo>
                    <a:lnTo>
                      <a:pt x="4571" y="27859"/>
                    </a:lnTo>
                    <a:lnTo>
                      <a:pt x="5127" y="28415"/>
                    </a:lnTo>
                    <a:lnTo>
                      <a:pt x="5745" y="28971"/>
                    </a:lnTo>
                    <a:lnTo>
                      <a:pt x="6362" y="29465"/>
                    </a:lnTo>
                    <a:lnTo>
                      <a:pt x="7042" y="29959"/>
                    </a:lnTo>
                    <a:lnTo>
                      <a:pt x="7721" y="30453"/>
                    </a:lnTo>
                    <a:lnTo>
                      <a:pt x="8401" y="30886"/>
                    </a:lnTo>
                    <a:lnTo>
                      <a:pt x="9142" y="31256"/>
                    </a:lnTo>
                    <a:lnTo>
                      <a:pt x="9945" y="31627"/>
                    </a:lnTo>
                    <a:lnTo>
                      <a:pt x="10686" y="31998"/>
                    </a:lnTo>
                    <a:lnTo>
                      <a:pt x="11489" y="32307"/>
                    </a:lnTo>
                    <a:lnTo>
                      <a:pt x="12292" y="32554"/>
                    </a:lnTo>
                    <a:lnTo>
                      <a:pt x="13157" y="32739"/>
                    </a:lnTo>
                    <a:lnTo>
                      <a:pt x="13960" y="32924"/>
                    </a:lnTo>
                    <a:lnTo>
                      <a:pt x="14825" y="33110"/>
                    </a:lnTo>
                    <a:lnTo>
                      <a:pt x="15690" y="33171"/>
                    </a:lnTo>
                    <a:lnTo>
                      <a:pt x="16616" y="33233"/>
                    </a:lnTo>
                    <a:lnTo>
                      <a:pt x="17481" y="33295"/>
                    </a:lnTo>
                    <a:lnTo>
                      <a:pt x="18408" y="33233"/>
                    </a:lnTo>
                    <a:lnTo>
                      <a:pt x="19272" y="33171"/>
                    </a:lnTo>
                    <a:lnTo>
                      <a:pt x="20137" y="33110"/>
                    </a:lnTo>
                    <a:lnTo>
                      <a:pt x="21002" y="32924"/>
                    </a:lnTo>
                    <a:lnTo>
                      <a:pt x="21867" y="32739"/>
                    </a:lnTo>
                    <a:lnTo>
                      <a:pt x="22732" y="32554"/>
                    </a:lnTo>
                    <a:lnTo>
                      <a:pt x="23535" y="32307"/>
                    </a:lnTo>
                    <a:lnTo>
                      <a:pt x="24338" y="31998"/>
                    </a:lnTo>
                    <a:lnTo>
                      <a:pt x="25079" y="31627"/>
                    </a:lnTo>
                    <a:lnTo>
                      <a:pt x="25820" y="31256"/>
                    </a:lnTo>
                    <a:lnTo>
                      <a:pt x="26561" y="30886"/>
                    </a:lnTo>
                    <a:lnTo>
                      <a:pt x="27303" y="30453"/>
                    </a:lnTo>
                    <a:lnTo>
                      <a:pt x="27982" y="29959"/>
                    </a:lnTo>
                    <a:lnTo>
                      <a:pt x="28600" y="29465"/>
                    </a:lnTo>
                    <a:lnTo>
                      <a:pt x="29279" y="28971"/>
                    </a:lnTo>
                    <a:lnTo>
                      <a:pt x="29897" y="28415"/>
                    </a:lnTo>
                    <a:lnTo>
                      <a:pt x="30453" y="27859"/>
                    </a:lnTo>
                    <a:lnTo>
                      <a:pt x="31009" y="27241"/>
                    </a:lnTo>
                    <a:lnTo>
                      <a:pt x="31503" y="26624"/>
                    </a:lnTo>
                    <a:lnTo>
                      <a:pt x="31997" y="25944"/>
                    </a:lnTo>
                    <a:lnTo>
                      <a:pt x="32491" y="25265"/>
                    </a:lnTo>
                    <a:lnTo>
                      <a:pt x="32862" y="24585"/>
                    </a:lnTo>
                    <a:lnTo>
                      <a:pt x="33294" y="23844"/>
                    </a:lnTo>
                    <a:lnTo>
                      <a:pt x="33603" y="23103"/>
                    </a:lnTo>
                    <a:lnTo>
                      <a:pt x="33912" y="22362"/>
                    </a:lnTo>
                    <a:lnTo>
                      <a:pt x="34221" y="21620"/>
                    </a:lnTo>
                    <a:lnTo>
                      <a:pt x="34468" y="20817"/>
                    </a:lnTo>
                    <a:lnTo>
                      <a:pt x="34653" y="20014"/>
                    </a:lnTo>
                    <a:lnTo>
                      <a:pt x="34777" y="19211"/>
                    </a:lnTo>
                    <a:lnTo>
                      <a:pt x="34900" y="18347"/>
                    </a:lnTo>
                    <a:lnTo>
                      <a:pt x="34962" y="17482"/>
                    </a:lnTo>
                    <a:lnTo>
                      <a:pt x="35024" y="16679"/>
                    </a:lnTo>
                    <a:lnTo>
                      <a:pt x="34962" y="15814"/>
                    </a:lnTo>
                    <a:lnTo>
                      <a:pt x="34900" y="14949"/>
                    </a:lnTo>
                    <a:lnTo>
                      <a:pt x="34777" y="14084"/>
                    </a:lnTo>
                    <a:lnTo>
                      <a:pt x="34653" y="13281"/>
                    </a:lnTo>
                    <a:lnTo>
                      <a:pt x="34468" y="12478"/>
                    </a:lnTo>
                    <a:lnTo>
                      <a:pt x="34221" y="11675"/>
                    </a:lnTo>
                    <a:lnTo>
                      <a:pt x="33912" y="10934"/>
                    </a:lnTo>
                    <a:lnTo>
                      <a:pt x="33603" y="10193"/>
                    </a:lnTo>
                    <a:lnTo>
                      <a:pt x="33294" y="9452"/>
                    </a:lnTo>
                    <a:lnTo>
                      <a:pt x="32862" y="8710"/>
                    </a:lnTo>
                    <a:lnTo>
                      <a:pt x="32491" y="8031"/>
                    </a:lnTo>
                    <a:lnTo>
                      <a:pt x="31997" y="7351"/>
                    </a:lnTo>
                    <a:lnTo>
                      <a:pt x="31503" y="6672"/>
                    </a:lnTo>
                    <a:lnTo>
                      <a:pt x="31009" y="6054"/>
                    </a:lnTo>
                    <a:lnTo>
                      <a:pt x="30453" y="5437"/>
                    </a:lnTo>
                    <a:lnTo>
                      <a:pt x="29897" y="4881"/>
                    </a:lnTo>
                    <a:lnTo>
                      <a:pt x="29279" y="4325"/>
                    </a:lnTo>
                    <a:lnTo>
                      <a:pt x="28600" y="3831"/>
                    </a:lnTo>
                    <a:lnTo>
                      <a:pt x="27982" y="3336"/>
                    </a:lnTo>
                    <a:lnTo>
                      <a:pt x="27303" y="2842"/>
                    </a:lnTo>
                    <a:lnTo>
                      <a:pt x="26561" y="2410"/>
                    </a:lnTo>
                    <a:lnTo>
                      <a:pt x="25820" y="2039"/>
                    </a:lnTo>
                    <a:lnTo>
                      <a:pt x="25079" y="1669"/>
                    </a:lnTo>
                    <a:lnTo>
                      <a:pt x="24338" y="1298"/>
                    </a:lnTo>
                    <a:lnTo>
                      <a:pt x="23535" y="1051"/>
                    </a:lnTo>
                    <a:lnTo>
                      <a:pt x="22732" y="742"/>
                    </a:lnTo>
                    <a:lnTo>
                      <a:pt x="21867" y="557"/>
                    </a:lnTo>
                    <a:lnTo>
                      <a:pt x="21002" y="371"/>
                    </a:lnTo>
                    <a:lnTo>
                      <a:pt x="20137" y="186"/>
                    </a:lnTo>
                    <a:lnTo>
                      <a:pt x="19272" y="124"/>
                    </a:lnTo>
                    <a:lnTo>
                      <a:pt x="18408" y="63"/>
                    </a:lnTo>
                    <a:lnTo>
                      <a:pt x="17481" y="1"/>
                    </a:lnTo>
                    <a:close/>
                  </a:path>
                </a:pathLst>
              </a:custGeom>
              <a:solidFill>
                <a:srgbClr val="FEBF7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6" name="Google Shape;1254;p142">
                <a:extLst>
                  <a:ext uri="{FF2B5EF4-FFF2-40B4-BE49-F238E27FC236}">
                    <a16:creationId xmlns:a16="http://schemas.microsoft.com/office/drawing/2014/main" id="{5D730117-340D-B4CA-494F-5AD69264C69D}"/>
                  </a:ext>
                </a:extLst>
              </p:cNvPr>
              <p:cNvSpPr/>
              <p:nvPr/>
            </p:nvSpPr>
            <p:spPr>
              <a:xfrm>
                <a:off x="10817155" y="2252335"/>
                <a:ext cx="408818" cy="388719"/>
              </a:xfrm>
              <a:custGeom>
                <a:avLst/>
                <a:gdLst/>
                <a:ahLst/>
                <a:cxnLst/>
                <a:rect l="l" t="t" r="r" b="b"/>
                <a:pathLst>
                  <a:path w="35024" h="33295" fill="none" extrusionOk="0">
                    <a:moveTo>
                      <a:pt x="17481" y="1"/>
                    </a:moveTo>
                    <a:lnTo>
                      <a:pt x="17481" y="1"/>
                    </a:lnTo>
                    <a:lnTo>
                      <a:pt x="16616" y="63"/>
                    </a:lnTo>
                    <a:lnTo>
                      <a:pt x="15690" y="124"/>
                    </a:lnTo>
                    <a:lnTo>
                      <a:pt x="14825" y="186"/>
                    </a:lnTo>
                    <a:lnTo>
                      <a:pt x="13960" y="371"/>
                    </a:lnTo>
                    <a:lnTo>
                      <a:pt x="13157" y="557"/>
                    </a:lnTo>
                    <a:lnTo>
                      <a:pt x="12292" y="742"/>
                    </a:lnTo>
                    <a:lnTo>
                      <a:pt x="11489" y="1051"/>
                    </a:lnTo>
                    <a:lnTo>
                      <a:pt x="10686" y="1298"/>
                    </a:lnTo>
                    <a:lnTo>
                      <a:pt x="9945" y="1669"/>
                    </a:lnTo>
                    <a:lnTo>
                      <a:pt x="9142" y="2039"/>
                    </a:lnTo>
                    <a:lnTo>
                      <a:pt x="8401" y="2410"/>
                    </a:lnTo>
                    <a:lnTo>
                      <a:pt x="7721" y="2842"/>
                    </a:lnTo>
                    <a:lnTo>
                      <a:pt x="7042" y="3336"/>
                    </a:lnTo>
                    <a:lnTo>
                      <a:pt x="6362" y="3831"/>
                    </a:lnTo>
                    <a:lnTo>
                      <a:pt x="5745" y="4325"/>
                    </a:lnTo>
                    <a:lnTo>
                      <a:pt x="5127" y="4881"/>
                    </a:lnTo>
                    <a:lnTo>
                      <a:pt x="4571" y="5437"/>
                    </a:lnTo>
                    <a:lnTo>
                      <a:pt x="4015" y="6054"/>
                    </a:lnTo>
                    <a:lnTo>
                      <a:pt x="3459" y="6672"/>
                    </a:lnTo>
                    <a:lnTo>
                      <a:pt x="2965" y="7351"/>
                    </a:lnTo>
                    <a:lnTo>
                      <a:pt x="2533" y="8031"/>
                    </a:lnTo>
                    <a:lnTo>
                      <a:pt x="2100" y="8710"/>
                    </a:lnTo>
                    <a:lnTo>
                      <a:pt x="1730" y="9452"/>
                    </a:lnTo>
                    <a:lnTo>
                      <a:pt x="1359" y="10193"/>
                    </a:lnTo>
                    <a:lnTo>
                      <a:pt x="1050" y="10934"/>
                    </a:lnTo>
                    <a:lnTo>
                      <a:pt x="803" y="11675"/>
                    </a:lnTo>
                    <a:lnTo>
                      <a:pt x="556" y="12478"/>
                    </a:lnTo>
                    <a:lnTo>
                      <a:pt x="371" y="13281"/>
                    </a:lnTo>
                    <a:lnTo>
                      <a:pt x="185" y="14084"/>
                    </a:lnTo>
                    <a:lnTo>
                      <a:pt x="124" y="14949"/>
                    </a:lnTo>
                    <a:lnTo>
                      <a:pt x="0" y="15814"/>
                    </a:lnTo>
                    <a:lnTo>
                      <a:pt x="0" y="16679"/>
                    </a:lnTo>
                    <a:lnTo>
                      <a:pt x="0" y="16679"/>
                    </a:lnTo>
                    <a:lnTo>
                      <a:pt x="0" y="17482"/>
                    </a:lnTo>
                    <a:lnTo>
                      <a:pt x="124" y="18347"/>
                    </a:lnTo>
                    <a:lnTo>
                      <a:pt x="185" y="19211"/>
                    </a:lnTo>
                    <a:lnTo>
                      <a:pt x="371" y="20014"/>
                    </a:lnTo>
                    <a:lnTo>
                      <a:pt x="556" y="20817"/>
                    </a:lnTo>
                    <a:lnTo>
                      <a:pt x="803" y="21620"/>
                    </a:lnTo>
                    <a:lnTo>
                      <a:pt x="1050" y="22362"/>
                    </a:lnTo>
                    <a:lnTo>
                      <a:pt x="1359" y="23103"/>
                    </a:lnTo>
                    <a:lnTo>
                      <a:pt x="1730" y="23844"/>
                    </a:lnTo>
                    <a:lnTo>
                      <a:pt x="2100" y="24585"/>
                    </a:lnTo>
                    <a:lnTo>
                      <a:pt x="2533" y="25265"/>
                    </a:lnTo>
                    <a:lnTo>
                      <a:pt x="2965" y="25944"/>
                    </a:lnTo>
                    <a:lnTo>
                      <a:pt x="3459" y="26624"/>
                    </a:lnTo>
                    <a:lnTo>
                      <a:pt x="4015" y="27241"/>
                    </a:lnTo>
                    <a:lnTo>
                      <a:pt x="4571" y="27859"/>
                    </a:lnTo>
                    <a:lnTo>
                      <a:pt x="5127" y="28415"/>
                    </a:lnTo>
                    <a:lnTo>
                      <a:pt x="5745" y="28971"/>
                    </a:lnTo>
                    <a:lnTo>
                      <a:pt x="6362" y="29465"/>
                    </a:lnTo>
                    <a:lnTo>
                      <a:pt x="7042" y="29959"/>
                    </a:lnTo>
                    <a:lnTo>
                      <a:pt x="7721" y="30453"/>
                    </a:lnTo>
                    <a:lnTo>
                      <a:pt x="8401" y="30886"/>
                    </a:lnTo>
                    <a:lnTo>
                      <a:pt x="9142" y="31256"/>
                    </a:lnTo>
                    <a:lnTo>
                      <a:pt x="9945" y="31627"/>
                    </a:lnTo>
                    <a:lnTo>
                      <a:pt x="10686" y="31998"/>
                    </a:lnTo>
                    <a:lnTo>
                      <a:pt x="11489" y="32307"/>
                    </a:lnTo>
                    <a:lnTo>
                      <a:pt x="12292" y="32554"/>
                    </a:lnTo>
                    <a:lnTo>
                      <a:pt x="13157" y="32739"/>
                    </a:lnTo>
                    <a:lnTo>
                      <a:pt x="13960" y="32924"/>
                    </a:lnTo>
                    <a:lnTo>
                      <a:pt x="14825" y="33110"/>
                    </a:lnTo>
                    <a:lnTo>
                      <a:pt x="15690" y="33171"/>
                    </a:lnTo>
                    <a:lnTo>
                      <a:pt x="16616" y="33233"/>
                    </a:lnTo>
                    <a:lnTo>
                      <a:pt x="17481" y="33295"/>
                    </a:lnTo>
                    <a:lnTo>
                      <a:pt x="17481" y="33295"/>
                    </a:lnTo>
                    <a:lnTo>
                      <a:pt x="18408" y="33233"/>
                    </a:lnTo>
                    <a:lnTo>
                      <a:pt x="19272" y="33171"/>
                    </a:lnTo>
                    <a:lnTo>
                      <a:pt x="20137" y="33110"/>
                    </a:lnTo>
                    <a:lnTo>
                      <a:pt x="21002" y="32924"/>
                    </a:lnTo>
                    <a:lnTo>
                      <a:pt x="21867" y="32739"/>
                    </a:lnTo>
                    <a:lnTo>
                      <a:pt x="22732" y="32554"/>
                    </a:lnTo>
                    <a:lnTo>
                      <a:pt x="23535" y="32307"/>
                    </a:lnTo>
                    <a:lnTo>
                      <a:pt x="24338" y="31998"/>
                    </a:lnTo>
                    <a:lnTo>
                      <a:pt x="25079" y="31627"/>
                    </a:lnTo>
                    <a:lnTo>
                      <a:pt x="25820" y="31256"/>
                    </a:lnTo>
                    <a:lnTo>
                      <a:pt x="26561" y="30886"/>
                    </a:lnTo>
                    <a:lnTo>
                      <a:pt x="27303" y="30453"/>
                    </a:lnTo>
                    <a:lnTo>
                      <a:pt x="27982" y="29959"/>
                    </a:lnTo>
                    <a:lnTo>
                      <a:pt x="28600" y="29465"/>
                    </a:lnTo>
                    <a:lnTo>
                      <a:pt x="29279" y="28971"/>
                    </a:lnTo>
                    <a:lnTo>
                      <a:pt x="29897" y="28415"/>
                    </a:lnTo>
                    <a:lnTo>
                      <a:pt x="30453" y="27859"/>
                    </a:lnTo>
                    <a:lnTo>
                      <a:pt x="31009" y="27241"/>
                    </a:lnTo>
                    <a:lnTo>
                      <a:pt x="31503" y="26624"/>
                    </a:lnTo>
                    <a:lnTo>
                      <a:pt x="31997" y="25944"/>
                    </a:lnTo>
                    <a:lnTo>
                      <a:pt x="32491" y="25265"/>
                    </a:lnTo>
                    <a:lnTo>
                      <a:pt x="32862" y="24585"/>
                    </a:lnTo>
                    <a:lnTo>
                      <a:pt x="33294" y="23844"/>
                    </a:lnTo>
                    <a:lnTo>
                      <a:pt x="33603" y="23103"/>
                    </a:lnTo>
                    <a:lnTo>
                      <a:pt x="33912" y="22362"/>
                    </a:lnTo>
                    <a:lnTo>
                      <a:pt x="34221" y="21620"/>
                    </a:lnTo>
                    <a:lnTo>
                      <a:pt x="34468" y="20817"/>
                    </a:lnTo>
                    <a:lnTo>
                      <a:pt x="34653" y="20014"/>
                    </a:lnTo>
                    <a:lnTo>
                      <a:pt x="34777" y="19211"/>
                    </a:lnTo>
                    <a:lnTo>
                      <a:pt x="34900" y="18347"/>
                    </a:lnTo>
                    <a:lnTo>
                      <a:pt x="34962" y="17482"/>
                    </a:lnTo>
                    <a:lnTo>
                      <a:pt x="35024" y="16679"/>
                    </a:lnTo>
                    <a:lnTo>
                      <a:pt x="35024" y="16679"/>
                    </a:lnTo>
                    <a:lnTo>
                      <a:pt x="34962" y="15814"/>
                    </a:lnTo>
                    <a:lnTo>
                      <a:pt x="34900" y="14949"/>
                    </a:lnTo>
                    <a:lnTo>
                      <a:pt x="34777" y="14084"/>
                    </a:lnTo>
                    <a:lnTo>
                      <a:pt x="34653" y="13281"/>
                    </a:lnTo>
                    <a:lnTo>
                      <a:pt x="34468" y="12478"/>
                    </a:lnTo>
                    <a:lnTo>
                      <a:pt x="34221" y="11675"/>
                    </a:lnTo>
                    <a:lnTo>
                      <a:pt x="33912" y="10934"/>
                    </a:lnTo>
                    <a:lnTo>
                      <a:pt x="33603" y="10193"/>
                    </a:lnTo>
                    <a:lnTo>
                      <a:pt x="33294" y="9452"/>
                    </a:lnTo>
                    <a:lnTo>
                      <a:pt x="32862" y="8710"/>
                    </a:lnTo>
                    <a:lnTo>
                      <a:pt x="32491" y="8031"/>
                    </a:lnTo>
                    <a:lnTo>
                      <a:pt x="31997" y="7351"/>
                    </a:lnTo>
                    <a:lnTo>
                      <a:pt x="31503" y="6672"/>
                    </a:lnTo>
                    <a:lnTo>
                      <a:pt x="31009" y="6054"/>
                    </a:lnTo>
                    <a:lnTo>
                      <a:pt x="30453" y="5437"/>
                    </a:lnTo>
                    <a:lnTo>
                      <a:pt x="29897" y="4881"/>
                    </a:lnTo>
                    <a:lnTo>
                      <a:pt x="29279" y="4325"/>
                    </a:lnTo>
                    <a:lnTo>
                      <a:pt x="28600" y="3831"/>
                    </a:lnTo>
                    <a:lnTo>
                      <a:pt x="27982" y="3336"/>
                    </a:lnTo>
                    <a:lnTo>
                      <a:pt x="27303" y="2842"/>
                    </a:lnTo>
                    <a:lnTo>
                      <a:pt x="26561" y="2410"/>
                    </a:lnTo>
                    <a:lnTo>
                      <a:pt x="25820" y="2039"/>
                    </a:lnTo>
                    <a:lnTo>
                      <a:pt x="25079" y="1669"/>
                    </a:lnTo>
                    <a:lnTo>
                      <a:pt x="24338" y="1298"/>
                    </a:lnTo>
                    <a:lnTo>
                      <a:pt x="23535" y="1051"/>
                    </a:lnTo>
                    <a:lnTo>
                      <a:pt x="22732" y="742"/>
                    </a:lnTo>
                    <a:lnTo>
                      <a:pt x="21867" y="557"/>
                    </a:lnTo>
                    <a:lnTo>
                      <a:pt x="21002" y="371"/>
                    </a:lnTo>
                    <a:lnTo>
                      <a:pt x="20137" y="186"/>
                    </a:lnTo>
                    <a:lnTo>
                      <a:pt x="19272" y="124"/>
                    </a:lnTo>
                    <a:lnTo>
                      <a:pt x="18408" y="63"/>
                    </a:lnTo>
                    <a:lnTo>
                      <a:pt x="17481" y="1"/>
                    </a:lnTo>
                  </a:path>
                </a:pathLst>
              </a:custGeom>
              <a:solidFill>
                <a:srgbClr val="FEBF7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7" name="Google Shape;1255;p142">
                <a:extLst>
                  <a:ext uri="{FF2B5EF4-FFF2-40B4-BE49-F238E27FC236}">
                    <a16:creationId xmlns:a16="http://schemas.microsoft.com/office/drawing/2014/main" id="{9EEA2F6A-75EB-FF4A-6689-BA9A56FD67A8}"/>
                  </a:ext>
                </a:extLst>
              </p:cNvPr>
              <p:cNvSpPr/>
              <p:nvPr/>
            </p:nvSpPr>
            <p:spPr>
              <a:xfrm>
                <a:off x="11070885" y="1978433"/>
                <a:ext cx="515539" cy="514202"/>
              </a:xfrm>
              <a:custGeom>
                <a:avLst/>
                <a:gdLst/>
                <a:ahLst/>
                <a:cxnLst/>
                <a:rect l="l" t="t" r="r" b="b"/>
                <a:pathLst>
                  <a:path w="44167" h="44043" extrusionOk="0">
                    <a:moveTo>
                      <a:pt x="22052" y="0"/>
                    </a:moveTo>
                    <a:lnTo>
                      <a:pt x="20940" y="62"/>
                    </a:lnTo>
                    <a:lnTo>
                      <a:pt x="19829" y="124"/>
                    </a:lnTo>
                    <a:lnTo>
                      <a:pt x="18717" y="247"/>
                    </a:lnTo>
                    <a:lnTo>
                      <a:pt x="17605" y="433"/>
                    </a:lnTo>
                    <a:lnTo>
                      <a:pt x="16555" y="680"/>
                    </a:lnTo>
                    <a:lnTo>
                      <a:pt x="15505" y="989"/>
                    </a:lnTo>
                    <a:lnTo>
                      <a:pt x="14516" y="1359"/>
                    </a:lnTo>
                    <a:lnTo>
                      <a:pt x="13466" y="1730"/>
                    </a:lnTo>
                    <a:lnTo>
                      <a:pt x="12540" y="2162"/>
                    </a:lnTo>
                    <a:lnTo>
                      <a:pt x="11551" y="2656"/>
                    </a:lnTo>
                    <a:lnTo>
                      <a:pt x="10625" y="3212"/>
                    </a:lnTo>
                    <a:lnTo>
                      <a:pt x="9760" y="3768"/>
                    </a:lnTo>
                    <a:lnTo>
                      <a:pt x="8895" y="4386"/>
                    </a:lnTo>
                    <a:lnTo>
                      <a:pt x="8030" y="5004"/>
                    </a:lnTo>
                    <a:lnTo>
                      <a:pt x="7227" y="5745"/>
                    </a:lnTo>
                    <a:lnTo>
                      <a:pt x="6486" y="6424"/>
                    </a:lnTo>
                    <a:lnTo>
                      <a:pt x="5745" y="7227"/>
                    </a:lnTo>
                    <a:lnTo>
                      <a:pt x="5065" y="8030"/>
                    </a:lnTo>
                    <a:lnTo>
                      <a:pt x="4386" y="8833"/>
                    </a:lnTo>
                    <a:lnTo>
                      <a:pt x="3768" y="9698"/>
                    </a:lnTo>
                    <a:lnTo>
                      <a:pt x="3212" y="10625"/>
                    </a:lnTo>
                    <a:lnTo>
                      <a:pt x="2656" y="11551"/>
                    </a:lnTo>
                    <a:lnTo>
                      <a:pt x="2162" y="12478"/>
                    </a:lnTo>
                    <a:lnTo>
                      <a:pt x="1730" y="13466"/>
                    </a:lnTo>
                    <a:lnTo>
                      <a:pt x="1359" y="14454"/>
                    </a:lnTo>
                    <a:lnTo>
                      <a:pt x="989" y="15443"/>
                    </a:lnTo>
                    <a:lnTo>
                      <a:pt x="680" y="16493"/>
                    </a:lnTo>
                    <a:lnTo>
                      <a:pt x="433" y="17605"/>
                    </a:lnTo>
                    <a:lnTo>
                      <a:pt x="247" y="18655"/>
                    </a:lnTo>
                    <a:lnTo>
                      <a:pt x="124" y="19767"/>
                    </a:lnTo>
                    <a:lnTo>
                      <a:pt x="62" y="20879"/>
                    </a:lnTo>
                    <a:lnTo>
                      <a:pt x="0" y="21990"/>
                    </a:lnTo>
                    <a:lnTo>
                      <a:pt x="62" y="23164"/>
                    </a:lnTo>
                    <a:lnTo>
                      <a:pt x="124" y="24276"/>
                    </a:lnTo>
                    <a:lnTo>
                      <a:pt x="247" y="25388"/>
                    </a:lnTo>
                    <a:lnTo>
                      <a:pt x="433" y="26438"/>
                    </a:lnTo>
                    <a:lnTo>
                      <a:pt x="680" y="27550"/>
                    </a:lnTo>
                    <a:lnTo>
                      <a:pt x="989" y="28538"/>
                    </a:lnTo>
                    <a:lnTo>
                      <a:pt x="1359" y="29588"/>
                    </a:lnTo>
                    <a:lnTo>
                      <a:pt x="1730" y="30576"/>
                    </a:lnTo>
                    <a:lnTo>
                      <a:pt x="2162" y="31565"/>
                    </a:lnTo>
                    <a:lnTo>
                      <a:pt x="2656" y="32491"/>
                    </a:lnTo>
                    <a:lnTo>
                      <a:pt x="3212" y="33418"/>
                    </a:lnTo>
                    <a:lnTo>
                      <a:pt x="3768" y="34344"/>
                    </a:lnTo>
                    <a:lnTo>
                      <a:pt x="4386" y="35209"/>
                    </a:lnTo>
                    <a:lnTo>
                      <a:pt x="5065" y="36012"/>
                    </a:lnTo>
                    <a:lnTo>
                      <a:pt x="5745" y="36815"/>
                    </a:lnTo>
                    <a:lnTo>
                      <a:pt x="6486" y="37556"/>
                    </a:lnTo>
                    <a:lnTo>
                      <a:pt x="7227" y="38298"/>
                    </a:lnTo>
                    <a:lnTo>
                      <a:pt x="8030" y="38977"/>
                    </a:lnTo>
                    <a:lnTo>
                      <a:pt x="8895" y="39657"/>
                    </a:lnTo>
                    <a:lnTo>
                      <a:pt x="9760" y="40274"/>
                    </a:lnTo>
                    <a:lnTo>
                      <a:pt x="10625" y="40830"/>
                    </a:lnTo>
                    <a:lnTo>
                      <a:pt x="11551" y="41386"/>
                    </a:lnTo>
                    <a:lnTo>
                      <a:pt x="12540" y="41880"/>
                    </a:lnTo>
                    <a:lnTo>
                      <a:pt x="13466" y="42313"/>
                    </a:lnTo>
                    <a:lnTo>
                      <a:pt x="14516" y="42683"/>
                    </a:lnTo>
                    <a:lnTo>
                      <a:pt x="15505" y="43054"/>
                    </a:lnTo>
                    <a:lnTo>
                      <a:pt x="16555" y="43363"/>
                    </a:lnTo>
                    <a:lnTo>
                      <a:pt x="17605" y="43610"/>
                    </a:lnTo>
                    <a:lnTo>
                      <a:pt x="18717" y="43795"/>
                    </a:lnTo>
                    <a:lnTo>
                      <a:pt x="19829" y="43919"/>
                    </a:lnTo>
                    <a:lnTo>
                      <a:pt x="20940" y="43980"/>
                    </a:lnTo>
                    <a:lnTo>
                      <a:pt x="22052" y="44042"/>
                    </a:lnTo>
                    <a:lnTo>
                      <a:pt x="23226" y="43980"/>
                    </a:lnTo>
                    <a:lnTo>
                      <a:pt x="24338" y="43919"/>
                    </a:lnTo>
                    <a:lnTo>
                      <a:pt x="25450" y="43795"/>
                    </a:lnTo>
                    <a:lnTo>
                      <a:pt x="26500" y="43610"/>
                    </a:lnTo>
                    <a:lnTo>
                      <a:pt x="27612" y="43363"/>
                    </a:lnTo>
                    <a:lnTo>
                      <a:pt x="28662" y="43054"/>
                    </a:lnTo>
                    <a:lnTo>
                      <a:pt x="29650" y="42683"/>
                    </a:lnTo>
                    <a:lnTo>
                      <a:pt x="30700" y="42313"/>
                    </a:lnTo>
                    <a:lnTo>
                      <a:pt x="31627" y="41880"/>
                    </a:lnTo>
                    <a:lnTo>
                      <a:pt x="32615" y="41386"/>
                    </a:lnTo>
                    <a:lnTo>
                      <a:pt x="33542" y="40830"/>
                    </a:lnTo>
                    <a:lnTo>
                      <a:pt x="34406" y="40274"/>
                    </a:lnTo>
                    <a:lnTo>
                      <a:pt x="35271" y="39657"/>
                    </a:lnTo>
                    <a:lnTo>
                      <a:pt x="36136" y="38977"/>
                    </a:lnTo>
                    <a:lnTo>
                      <a:pt x="36939" y="38298"/>
                    </a:lnTo>
                    <a:lnTo>
                      <a:pt x="37680" y="37556"/>
                    </a:lnTo>
                    <a:lnTo>
                      <a:pt x="38421" y="36815"/>
                    </a:lnTo>
                    <a:lnTo>
                      <a:pt x="39101" y="36012"/>
                    </a:lnTo>
                    <a:lnTo>
                      <a:pt x="39780" y="35209"/>
                    </a:lnTo>
                    <a:lnTo>
                      <a:pt x="40398" y="34344"/>
                    </a:lnTo>
                    <a:lnTo>
                      <a:pt x="40954" y="33418"/>
                    </a:lnTo>
                    <a:lnTo>
                      <a:pt x="41510" y="32491"/>
                    </a:lnTo>
                    <a:lnTo>
                      <a:pt x="42004" y="31565"/>
                    </a:lnTo>
                    <a:lnTo>
                      <a:pt x="42436" y="30576"/>
                    </a:lnTo>
                    <a:lnTo>
                      <a:pt x="42807" y="29588"/>
                    </a:lnTo>
                    <a:lnTo>
                      <a:pt x="43178" y="28538"/>
                    </a:lnTo>
                    <a:lnTo>
                      <a:pt x="43487" y="27550"/>
                    </a:lnTo>
                    <a:lnTo>
                      <a:pt x="43734" y="26438"/>
                    </a:lnTo>
                    <a:lnTo>
                      <a:pt x="43919" y="25388"/>
                    </a:lnTo>
                    <a:lnTo>
                      <a:pt x="44043" y="24276"/>
                    </a:lnTo>
                    <a:lnTo>
                      <a:pt x="44104" y="23164"/>
                    </a:lnTo>
                    <a:lnTo>
                      <a:pt x="44166" y="21990"/>
                    </a:lnTo>
                    <a:lnTo>
                      <a:pt x="44104" y="20879"/>
                    </a:lnTo>
                    <a:lnTo>
                      <a:pt x="44043" y="19767"/>
                    </a:lnTo>
                    <a:lnTo>
                      <a:pt x="43919" y="18655"/>
                    </a:lnTo>
                    <a:lnTo>
                      <a:pt x="43734" y="17605"/>
                    </a:lnTo>
                    <a:lnTo>
                      <a:pt x="43487" y="16493"/>
                    </a:lnTo>
                    <a:lnTo>
                      <a:pt x="43178" y="15443"/>
                    </a:lnTo>
                    <a:lnTo>
                      <a:pt x="42807" y="14454"/>
                    </a:lnTo>
                    <a:lnTo>
                      <a:pt x="42436" y="13466"/>
                    </a:lnTo>
                    <a:lnTo>
                      <a:pt x="42004" y="12478"/>
                    </a:lnTo>
                    <a:lnTo>
                      <a:pt x="41510" y="11551"/>
                    </a:lnTo>
                    <a:lnTo>
                      <a:pt x="40954" y="10625"/>
                    </a:lnTo>
                    <a:lnTo>
                      <a:pt x="40398" y="9698"/>
                    </a:lnTo>
                    <a:lnTo>
                      <a:pt x="39780" y="8833"/>
                    </a:lnTo>
                    <a:lnTo>
                      <a:pt x="39101" y="8030"/>
                    </a:lnTo>
                    <a:lnTo>
                      <a:pt x="38421" y="7227"/>
                    </a:lnTo>
                    <a:lnTo>
                      <a:pt x="37680" y="6424"/>
                    </a:lnTo>
                    <a:lnTo>
                      <a:pt x="36939" y="5745"/>
                    </a:lnTo>
                    <a:lnTo>
                      <a:pt x="36136" y="5004"/>
                    </a:lnTo>
                    <a:lnTo>
                      <a:pt x="35271" y="4386"/>
                    </a:lnTo>
                    <a:lnTo>
                      <a:pt x="34406" y="3768"/>
                    </a:lnTo>
                    <a:lnTo>
                      <a:pt x="33542" y="3212"/>
                    </a:lnTo>
                    <a:lnTo>
                      <a:pt x="32615" y="2656"/>
                    </a:lnTo>
                    <a:lnTo>
                      <a:pt x="31627" y="2162"/>
                    </a:lnTo>
                    <a:lnTo>
                      <a:pt x="30700" y="1730"/>
                    </a:lnTo>
                    <a:lnTo>
                      <a:pt x="29650" y="1359"/>
                    </a:lnTo>
                    <a:lnTo>
                      <a:pt x="28662" y="989"/>
                    </a:lnTo>
                    <a:lnTo>
                      <a:pt x="27612" y="680"/>
                    </a:lnTo>
                    <a:lnTo>
                      <a:pt x="26500" y="433"/>
                    </a:lnTo>
                    <a:lnTo>
                      <a:pt x="25450" y="247"/>
                    </a:lnTo>
                    <a:lnTo>
                      <a:pt x="24338" y="124"/>
                    </a:lnTo>
                    <a:lnTo>
                      <a:pt x="23226" y="62"/>
                    </a:lnTo>
                    <a:lnTo>
                      <a:pt x="22052" y="0"/>
                    </a:lnTo>
                    <a:close/>
                  </a:path>
                </a:pathLst>
              </a:custGeom>
              <a:solidFill>
                <a:srgbClr val="FEBF7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8" name="Google Shape;1256;p142">
                <a:extLst>
                  <a:ext uri="{FF2B5EF4-FFF2-40B4-BE49-F238E27FC236}">
                    <a16:creationId xmlns:a16="http://schemas.microsoft.com/office/drawing/2014/main" id="{2A46AB66-688A-8174-C055-C8C6C5F37254}"/>
                  </a:ext>
                </a:extLst>
              </p:cNvPr>
              <p:cNvSpPr/>
              <p:nvPr/>
            </p:nvSpPr>
            <p:spPr>
              <a:xfrm>
                <a:off x="10887791" y="2001492"/>
                <a:ext cx="468674" cy="467327"/>
              </a:xfrm>
              <a:custGeom>
                <a:avLst/>
                <a:gdLst/>
                <a:ahLst/>
                <a:cxnLst/>
                <a:rect l="l" t="t" r="r" b="b"/>
                <a:pathLst>
                  <a:path w="40152" h="40028" extrusionOk="0">
                    <a:moveTo>
                      <a:pt x="19088" y="1"/>
                    </a:moveTo>
                    <a:lnTo>
                      <a:pt x="18037" y="63"/>
                    </a:lnTo>
                    <a:lnTo>
                      <a:pt x="17049" y="186"/>
                    </a:lnTo>
                    <a:lnTo>
                      <a:pt x="16061" y="372"/>
                    </a:lnTo>
                    <a:lnTo>
                      <a:pt x="15072" y="619"/>
                    </a:lnTo>
                    <a:lnTo>
                      <a:pt x="14146" y="866"/>
                    </a:lnTo>
                    <a:lnTo>
                      <a:pt x="13158" y="1175"/>
                    </a:lnTo>
                    <a:lnTo>
                      <a:pt x="12293" y="1545"/>
                    </a:lnTo>
                    <a:lnTo>
                      <a:pt x="11366" y="1978"/>
                    </a:lnTo>
                    <a:lnTo>
                      <a:pt x="10501" y="2410"/>
                    </a:lnTo>
                    <a:lnTo>
                      <a:pt x="9698" y="2904"/>
                    </a:lnTo>
                    <a:lnTo>
                      <a:pt x="8834" y="3398"/>
                    </a:lnTo>
                    <a:lnTo>
                      <a:pt x="8092" y="3954"/>
                    </a:lnTo>
                    <a:lnTo>
                      <a:pt x="7289" y="4572"/>
                    </a:lnTo>
                    <a:lnTo>
                      <a:pt x="6610" y="5190"/>
                    </a:lnTo>
                    <a:lnTo>
                      <a:pt x="5869" y="5869"/>
                    </a:lnTo>
                    <a:lnTo>
                      <a:pt x="5251" y="6549"/>
                    </a:lnTo>
                    <a:lnTo>
                      <a:pt x="4572" y="7290"/>
                    </a:lnTo>
                    <a:lnTo>
                      <a:pt x="4016" y="8031"/>
                    </a:lnTo>
                    <a:lnTo>
                      <a:pt x="3460" y="8834"/>
                    </a:lnTo>
                    <a:lnTo>
                      <a:pt x="2904" y="9637"/>
                    </a:lnTo>
                    <a:lnTo>
                      <a:pt x="2410" y="10502"/>
                    </a:lnTo>
                    <a:lnTo>
                      <a:pt x="1977" y="11305"/>
                    </a:lnTo>
                    <a:lnTo>
                      <a:pt x="1607" y="12231"/>
                    </a:lnTo>
                    <a:lnTo>
                      <a:pt x="1236" y="13158"/>
                    </a:lnTo>
                    <a:lnTo>
                      <a:pt x="927" y="14084"/>
                    </a:lnTo>
                    <a:lnTo>
                      <a:pt x="618" y="15011"/>
                    </a:lnTo>
                    <a:lnTo>
                      <a:pt x="433" y="15999"/>
                    </a:lnTo>
                    <a:lnTo>
                      <a:pt x="248" y="16988"/>
                    </a:lnTo>
                    <a:lnTo>
                      <a:pt x="124" y="17976"/>
                    </a:lnTo>
                    <a:lnTo>
                      <a:pt x="62" y="18964"/>
                    </a:lnTo>
                    <a:lnTo>
                      <a:pt x="1" y="20014"/>
                    </a:lnTo>
                    <a:lnTo>
                      <a:pt x="62" y="21064"/>
                    </a:lnTo>
                    <a:lnTo>
                      <a:pt x="124" y="22053"/>
                    </a:lnTo>
                    <a:lnTo>
                      <a:pt x="248" y="23103"/>
                    </a:lnTo>
                    <a:lnTo>
                      <a:pt x="433" y="24029"/>
                    </a:lnTo>
                    <a:lnTo>
                      <a:pt x="618" y="25018"/>
                    </a:lnTo>
                    <a:lnTo>
                      <a:pt x="927" y="26006"/>
                    </a:lnTo>
                    <a:lnTo>
                      <a:pt x="1236" y="26933"/>
                    </a:lnTo>
                    <a:lnTo>
                      <a:pt x="1607" y="27797"/>
                    </a:lnTo>
                    <a:lnTo>
                      <a:pt x="1977" y="28724"/>
                    </a:lnTo>
                    <a:lnTo>
                      <a:pt x="2410" y="29589"/>
                    </a:lnTo>
                    <a:lnTo>
                      <a:pt x="2904" y="30392"/>
                    </a:lnTo>
                    <a:lnTo>
                      <a:pt x="3460" y="31195"/>
                    </a:lnTo>
                    <a:lnTo>
                      <a:pt x="4016" y="31998"/>
                    </a:lnTo>
                    <a:lnTo>
                      <a:pt x="4572" y="32739"/>
                    </a:lnTo>
                    <a:lnTo>
                      <a:pt x="5251" y="33480"/>
                    </a:lnTo>
                    <a:lnTo>
                      <a:pt x="5869" y="34160"/>
                    </a:lnTo>
                    <a:lnTo>
                      <a:pt x="6610" y="34839"/>
                    </a:lnTo>
                    <a:lnTo>
                      <a:pt x="7289" y="35457"/>
                    </a:lnTo>
                    <a:lnTo>
                      <a:pt x="8092" y="36075"/>
                    </a:lnTo>
                    <a:lnTo>
                      <a:pt x="8834" y="36630"/>
                    </a:lnTo>
                    <a:lnTo>
                      <a:pt x="9698" y="37186"/>
                    </a:lnTo>
                    <a:lnTo>
                      <a:pt x="10501" y="37619"/>
                    </a:lnTo>
                    <a:lnTo>
                      <a:pt x="11366" y="38051"/>
                    </a:lnTo>
                    <a:lnTo>
                      <a:pt x="12293" y="38484"/>
                    </a:lnTo>
                    <a:lnTo>
                      <a:pt x="13158" y="38854"/>
                    </a:lnTo>
                    <a:lnTo>
                      <a:pt x="14146" y="39163"/>
                    </a:lnTo>
                    <a:lnTo>
                      <a:pt x="15072" y="39410"/>
                    </a:lnTo>
                    <a:lnTo>
                      <a:pt x="16061" y="39657"/>
                    </a:lnTo>
                    <a:lnTo>
                      <a:pt x="17049" y="39843"/>
                    </a:lnTo>
                    <a:lnTo>
                      <a:pt x="18037" y="39966"/>
                    </a:lnTo>
                    <a:lnTo>
                      <a:pt x="19088" y="40028"/>
                    </a:lnTo>
                    <a:lnTo>
                      <a:pt x="21126" y="40028"/>
                    </a:lnTo>
                    <a:lnTo>
                      <a:pt x="22114" y="39966"/>
                    </a:lnTo>
                    <a:lnTo>
                      <a:pt x="23164" y="39843"/>
                    </a:lnTo>
                    <a:lnTo>
                      <a:pt x="24153" y="39657"/>
                    </a:lnTo>
                    <a:lnTo>
                      <a:pt x="25141" y="39410"/>
                    </a:lnTo>
                    <a:lnTo>
                      <a:pt x="26068" y="39163"/>
                    </a:lnTo>
                    <a:lnTo>
                      <a:pt x="26994" y="38854"/>
                    </a:lnTo>
                    <a:lnTo>
                      <a:pt x="27921" y="38484"/>
                    </a:lnTo>
                    <a:lnTo>
                      <a:pt x="28786" y="38051"/>
                    </a:lnTo>
                    <a:lnTo>
                      <a:pt x="29650" y="37619"/>
                    </a:lnTo>
                    <a:lnTo>
                      <a:pt x="30515" y="37186"/>
                    </a:lnTo>
                    <a:lnTo>
                      <a:pt x="31318" y="36630"/>
                    </a:lnTo>
                    <a:lnTo>
                      <a:pt x="32121" y="36075"/>
                    </a:lnTo>
                    <a:lnTo>
                      <a:pt x="32862" y="35457"/>
                    </a:lnTo>
                    <a:lnTo>
                      <a:pt x="33604" y="34839"/>
                    </a:lnTo>
                    <a:lnTo>
                      <a:pt x="34283" y="34160"/>
                    </a:lnTo>
                    <a:lnTo>
                      <a:pt x="34963" y="33480"/>
                    </a:lnTo>
                    <a:lnTo>
                      <a:pt x="35580" y="32739"/>
                    </a:lnTo>
                    <a:lnTo>
                      <a:pt x="36198" y="31998"/>
                    </a:lnTo>
                    <a:lnTo>
                      <a:pt x="36754" y="31195"/>
                    </a:lnTo>
                    <a:lnTo>
                      <a:pt x="37248" y="30392"/>
                    </a:lnTo>
                    <a:lnTo>
                      <a:pt x="37742" y="29589"/>
                    </a:lnTo>
                    <a:lnTo>
                      <a:pt x="38175" y="28724"/>
                    </a:lnTo>
                    <a:lnTo>
                      <a:pt x="38607" y="27797"/>
                    </a:lnTo>
                    <a:lnTo>
                      <a:pt x="38978" y="26933"/>
                    </a:lnTo>
                    <a:lnTo>
                      <a:pt x="39286" y="26006"/>
                    </a:lnTo>
                    <a:lnTo>
                      <a:pt x="39534" y="25018"/>
                    </a:lnTo>
                    <a:lnTo>
                      <a:pt x="39781" y="24029"/>
                    </a:lnTo>
                    <a:lnTo>
                      <a:pt x="39966" y="23103"/>
                    </a:lnTo>
                    <a:lnTo>
                      <a:pt x="40090" y="22053"/>
                    </a:lnTo>
                    <a:lnTo>
                      <a:pt x="40151" y="21064"/>
                    </a:lnTo>
                    <a:lnTo>
                      <a:pt x="40151" y="20014"/>
                    </a:lnTo>
                    <a:lnTo>
                      <a:pt x="40151" y="18964"/>
                    </a:lnTo>
                    <a:lnTo>
                      <a:pt x="40090" y="17976"/>
                    </a:lnTo>
                    <a:lnTo>
                      <a:pt x="39966" y="16988"/>
                    </a:lnTo>
                    <a:lnTo>
                      <a:pt x="39781" y="15999"/>
                    </a:lnTo>
                    <a:lnTo>
                      <a:pt x="39534" y="15011"/>
                    </a:lnTo>
                    <a:lnTo>
                      <a:pt x="39286" y="14084"/>
                    </a:lnTo>
                    <a:lnTo>
                      <a:pt x="38978" y="13158"/>
                    </a:lnTo>
                    <a:lnTo>
                      <a:pt x="38607" y="12231"/>
                    </a:lnTo>
                    <a:lnTo>
                      <a:pt x="38175" y="11305"/>
                    </a:lnTo>
                    <a:lnTo>
                      <a:pt x="37742" y="10502"/>
                    </a:lnTo>
                    <a:lnTo>
                      <a:pt x="37248" y="9637"/>
                    </a:lnTo>
                    <a:lnTo>
                      <a:pt x="36754" y="8834"/>
                    </a:lnTo>
                    <a:lnTo>
                      <a:pt x="36198" y="8031"/>
                    </a:lnTo>
                    <a:lnTo>
                      <a:pt x="35580" y="7290"/>
                    </a:lnTo>
                    <a:lnTo>
                      <a:pt x="34963" y="6549"/>
                    </a:lnTo>
                    <a:lnTo>
                      <a:pt x="34283" y="5869"/>
                    </a:lnTo>
                    <a:lnTo>
                      <a:pt x="33604" y="5190"/>
                    </a:lnTo>
                    <a:lnTo>
                      <a:pt x="32862" y="4572"/>
                    </a:lnTo>
                    <a:lnTo>
                      <a:pt x="32121" y="3954"/>
                    </a:lnTo>
                    <a:lnTo>
                      <a:pt x="31318" y="3398"/>
                    </a:lnTo>
                    <a:lnTo>
                      <a:pt x="30515" y="2904"/>
                    </a:lnTo>
                    <a:lnTo>
                      <a:pt x="29650" y="2410"/>
                    </a:lnTo>
                    <a:lnTo>
                      <a:pt x="28786" y="1978"/>
                    </a:lnTo>
                    <a:lnTo>
                      <a:pt x="27921" y="1545"/>
                    </a:lnTo>
                    <a:lnTo>
                      <a:pt x="26994" y="1175"/>
                    </a:lnTo>
                    <a:lnTo>
                      <a:pt x="26068" y="866"/>
                    </a:lnTo>
                    <a:lnTo>
                      <a:pt x="25141" y="619"/>
                    </a:lnTo>
                    <a:lnTo>
                      <a:pt x="24153" y="372"/>
                    </a:lnTo>
                    <a:lnTo>
                      <a:pt x="23164" y="186"/>
                    </a:lnTo>
                    <a:lnTo>
                      <a:pt x="22114" y="63"/>
                    </a:lnTo>
                    <a:lnTo>
                      <a:pt x="21126" y="1"/>
                    </a:lnTo>
                    <a:close/>
                  </a:path>
                </a:pathLst>
              </a:custGeom>
              <a:solidFill>
                <a:srgbClr val="FEBF7D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9" name="Google Shape;1257;p142">
                <a:extLst>
                  <a:ext uri="{FF2B5EF4-FFF2-40B4-BE49-F238E27FC236}">
                    <a16:creationId xmlns:a16="http://schemas.microsoft.com/office/drawing/2014/main" id="{9E68BA01-0B2E-1D47-CD56-6FCDEFD8A706}"/>
                  </a:ext>
                </a:extLst>
              </p:cNvPr>
              <p:cNvSpPr/>
              <p:nvPr/>
            </p:nvSpPr>
            <p:spPr>
              <a:xfrm>
                <a:off x="11243886" y="2705009"/>
                <a:ext cx="12980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112" h="63" extrusionOk="0">
                    <a:moveTo>
                      <a:pt x="741" y="62"/>
                    </a:moveTo>
                    <a:lnTo>
                      <a:pt x="741" y="62"/>
                    </a:lnTo>
                    <a:lnTo>
                      <a:pt x="741" y="62"/>
                    </a:lnTo>
                    <a:lnTo>
                      <a:pt x="741" y="62"/>
                    </a:lnTo>
                    <a:lnTo>
                      <a:pt x="741" y="62"/>
                    </a:lnTo>
                    <a:close/>
                    <a:moveTo>
                      <a:pt x="680" y="62"/>
                    </a:moveTo>
                    <a:lnTo>
                      <a:pt x="680" y="62"/>
                    </a:lnTo>
                    <a:lnTo>
                      <a:pt x="741" y="62"/>
                    </a:lnTo>
                    <a:lnTo>
                      <a:pt x="741" y="62"/>
                    </a:lnTo>
                    <a:lnTo>
                      <a:pt x="680" y="62"/>
                    </a:lnTo>
                    <a:close/>
                    <a:moveTo>
                      <a:pt x="741" y="62"/>
                    </a:moveTo>
                    <a:lnTo>
                      <a:pt x="741" y="62"/>
                    </a:lnTo>
                    <a:lnTo>
                      <a:pt x="741" y="62"/>
                    </a:lnTo>
                    <a:lnTo>
                      <a:pt x="741" y="62"/>
                    </a:lnTo>
                    <a:lnTo>
                      <a:pt x="741" y="62"/>
                    </a:lnTo>
                    <a:close/>
                    <a:moveTo>
                      <a:pt x="680" y="62"/>
                    </a:moveTo>
                    <a:lnTo>
                      <a:pt x="680" y="62"/>
                    </a:lnTo>
                    <a:lnTo>
                      <a:pt x="680" y="62"/>
                    </a:lnTo>
                    <a:lnTo>
                      <a:pt x="680" y="62"/>
                    </a:lnTo>
                    <a:lnTo>
                      <a:pt x="680" y="62"/>
                    </a:lnTo>
                    <a:close/>
                    <a:moveTo>
                      <a:pt x="618" y="62"/>
                    </a:moveTo>
                    <a:lnTo>
                      <a:pt x="618" y="62"/>
                    </a:lnTo>
                    <a:lnTo>
                      <a:pt x="680" y="62"/>
                    </a:lnTo>
                    <a:lnTo>
                      <a:pt x="680" y="62"/>
                    </a:lnTo>
                    <a:lnTo>
                      <a:pt x="618" y="62"/>
                    </a:lnTo>
                    <a:close/>
                    <a:moveTo>
                      <a:pt x="618" y="62"/>
                    </a:move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close/>
                    <a:moveTo>
                      <a:pt x="803" y="62"/>
                    </a:moveTo>
                    <a:lnTo>
                      <a:pt x="803" y="62"/>
                    </a:lnTo>
                    <a:lnTo>
                      <a:pt x="741" y="62"/>
                    </a:lnTo>
                    <a:lnTo>
                      <a:pt x="741" y="62"/>
                    </a:lnTo>
                    <a:lnTo>
                      <a:pt x="803" y="62"/>
                    </a:lnTo>
                    <a:close/>
                    <a:moveTo>
                      <a:pt x="618" y="62"/>
                    </a:move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close/>
                    <a:moveTo>
                      <a:pt x="865" y="62"/>
                    </a:moveTo>
                    <a:lnTo>
                      <a:pt x="865" y="62"/>
                    </a:lnTo>
                    <a:lnTo>
                      <a:pt x="803" y="62"/>
                    </a:lnTo>
                    <a:lnTo>
                      <a:pt x="803" y="62"/>
                    </a:lnTo>
                    <a:lnTo>
                      <a:pt x="865" y="62"/>
                    </a:lnTo>
                    <a:close/>
                    <a:moveTo>
                      <a:pt x="556" y="62"/>
                    </a:moveTo>
                    <a:lnTo>
                      <a:pt x="556" y="62"/>
                    </a:lnTo>
                    <a:lnTo>
                      <a:pt x="556" y="62"/>
                    </a:lnTo>
                    <a:lnTo>
                      <a:pt x="556" y="62"/>
                    </a:lnTo>
                    <a:lnTo>
                      <a:pt x="556" y="62"/>
                    </a:lnTo>
                    <a:close/>
                    <a:moveTo>
                      <a:pt x="865" y="62"/>
                    </a:moveTo>
                    <a:lnTo>
                      <a:pt x="865" y="62"/>
                    </a:lnTo>
                    <a:lnTo>
                      <a:pt x="865" y="62"/>
                    </a:lnTo>
                    <a:lnTo>
                      <a:pt x="865" y="62"/>
                    </a:lnTo>
                    <a:lnTo>
                      <a:pt x="865" y="62"/>
                    </a:lnTo>
                    <a:close/>
                    <a:moveTo>
                      <a:pt x="865" y="62"/>
                    </a:moveTo>
                    <a:lnTo>
                      <a:pt x="865" y="62"/>
                    </a:lnTo>
                    <a:lnTo>
                      <a:pt x="865" y="62"/>
                    </a:lnTo>
                    <a:lnTo>
                      <a:pt x="865" y="62"/>
                    </a:lnTo>
                    <a:lnTo>
                      <a:pt x="865" y="62"/>
                    </a:lnTo>
                    <a:close/>
                    <a:moveTo>
                      <a:pt x="556" y="62"/>
                    </a:moveTo>
                    <a:lnTo>
                      <a:pt x="556" y="62"/>
                    </a:lnTo>
                    <a:lnTo>
                      <a:pt x="556" y="62"/>
                    </a:lnTo>
                    <a:lnTo>
                      <a:pt x="556" y="62"/>
                    </a:lnTo>
                    <a:lnTo>
                      <a:pt x="556" y="62"/>
                    </a:lnTo>
                    <a:close/>
                    <a:moveTo>
                      <a:pt x="927" y="62"/>
                    </a:moveTo>
                    <a:lnTo>
                      <a:pt x="927" y="62"/>
                    </a:lnTo>
                    <a:lnTo>
                      <a:pt x="927" y="62"/>
                    </a:lnTo>
                    <a:lnTo>
                      <a:pt x="927" y="62"/>
                    </a:lnTo>
                    <a:lnTo>
                      <a:pt x="927" y="62"/>
                    </a:lnTo>
                    <a:close/>
                    <a:moveTo>
                      <a:pt x="494" y="62"/>
                    </a:moveTo>
                    <a:lnTo>
                      <a:pt x="494" y="62"/>
                    </a:lnTo>
                    <a:lnTo>
                      <a:pt x="556" y="62"/>
                    </a:lnTo>
                    <a:lnTo>
                      <a:pt x="556" y="62"/>
                    </a:lnTo>
                    <a:lnTo>
                      <a:pt x="494" y="62"/>
                    </a:lnTo>
                    <a:close/>
                    <a:moveTo>
                      <a:pt x="494" y="62"/>
                    </a:move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62"/>
                    </a:lnTo>
                    <a:close/>
                    <a:moveTo>
                      <a:pt x="927" y="62"/>
                    </a:moveTo>
                    <a:lnTo>
                      <a:pt x="927" y="62"/>
                    </a:lnTo>
                    <a:lnTo>
                      <a:pt x="927" y="62"/>
                    </a:lnTo>
                    <a:lnTo>
                      <a:pt x="927" y="62"/>
                    </a:lnTo>
                    <a:lnTo>
                      <a:pt x="927" y="62"/>
                    </a:lnTo>
                    <a:close/>
                    <a:moveTo>
                      <a:pt x="494" y="62"/>
                    </a:move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62"/>
                    </a:lnTo>
                    <a:close/>
                    <a:moveTo>
                      <a:pt x="988" y="62"/>
                    </a:moveTo>
                    <a:lnTo>
                      <a:pt x="988" y="62"/>
                    </a:lnTo>
                    <a:lnTo>
                      <a:pt x="927" y="62"/>
                    </a:lnTo>
                    <a:lnTo>
                      <a:pt x="927" y="62"/>
                    </a:lnTo>
                    <a:lnTo>
                      <a:pt x="988" y="62"/>
                    </a:lnTo>
                    <a:close/>
                    <a:moveTo>
                      <a:pt x="432" y="62"/>
                    </a:moveTo>
                    <a:lnTo>
                      <a:pt x="432" y="62"/>
                    </a:lnTo>
                    <a:lnTo>
                      <a:pt x="432" y="62"/>
                    </a:lnTo>
                    <a:lnTo>
                      <a:pt x="432" y="62"/>
                    </a:lnTo>
                    <a:lnTo>
                      <a:pt x="432" y="62"/>
                    </a:lnTo>
                    <a:close/>
                    <a:moveTo>
                      <a:pt x="988" y="62"/>
                    </a:moveTo>
                    <a:lnTo>
                      <a:pt x="988" y="62"/>
                    </a:lnTo>
                    <a:lnTo>
                      <a:pt x="988" y="62"/>
                    </a:lnTo>
                    <a:lnTo>
                      <a:pt x="988" y="62"/>
                    </a:lnTo>
                    <a:lnTo>
                      <a:pt x="988" y="62"/>
                    </a:lnTo>
                    <a:close/>
                    <a:moveTo>
                      <a:pt x="432" y="62"/>
                    </a:moveTo>
                    <a:lnTo>
                      <a:pt x="432" y="62"/>
                    </a:lnTo>
                    <a:lnTo>
                      <a:pt x="432" y="62"/>
                    </a:lnTo>
                    <a:lnTo>
                      <a:pt x="432" y="62"/>
                    </a:lnTo>
                    <a:lnTo>
                      <a:pt x="432" y="62"/>
                    </a:lnTo>
                    <a:close/>
                    <a:moveTo>
                      <a:pt x="1050" y="62"/>
                    </a:moveTo>
                    <a:lnTo>
                      <a:pt x="1050" y="62"/>
                    </a:lnTo>
                    <a:lnTo>
                      <a:pt x="988" y="62"/>
                    </a:lnTo>
                    <a:lnTo>
                      <a:pt x="988" y="62"/>
                    </a:lnTo>
                    <a:lnTo>
                      <a:pt x="1050" y="62"/>
                    </a:lnTo>
                    <a:close/>
                    <a:moveTo>
                      <a:pt x="1050" y="62"/>
                    </a:moveTo>
                    <a:lnTo>
                      <a:pt x="1050" y="62"/>
                    </a:lnTo>
                    <a:lnTo>
                      <a:pt x="1050" y="62"/>
                    </a:lnTo>
                    <a:lnTo>
                      <a:pt x="1050" y="62"/>
                    </a:lnTo>
                    <a:lnTo>
                      <a:pt x="1050" y="62"/>
                    </a:lnTo>
                    <a:close/>
                    <a:moveTo>
                      <a:pt x="371" y="62"/>
                    </a:moveTo>
                    <a:lnTo>
                      <a:pt x="371" y="62"/>
                    </a:lnTo>
                    <a:lnTo>
                      <a:pt x="371" y="62"/>
                    </a:lnTo>
                    <a:lnTo>
                      <a:pt x="371" y="62"/>
                    </a:lnTo>
                    <a:lnTo>
                      <a:pt x="371" y="62"/>
                    </a:lnTo>
                    <a:close/>
                    <a:moveTo>
                      <a:pt x="1050" y="62"/>
                    </a:moveTo>
                    <a:lnTo>
                      <a:pt x="1050" y="62"/>
                    </a:lnTo>
                    <a:lnTo>
                      <a:pt x="1050" y="62"/>
                    </a:lnTo>
                    <a:lnTo>
                      <a:pt x="1050" y="62"/>
                    </a:lnTo>
                    <a:lnTo>
                      <a:pt x="1050" y="62"/>
                    </a:lnTo>
                    <a:close/>
                    <a:moveTo>
                      <a:pt x="371" y="62"/>
                    </a:moveTo>
                    <a:lnTo>
                      <a:pt x="371" y="62"/>
                    </a:lnTo>
                    <a:lnTo>
                      <a:pt x="371" y="62"/>
                    </a:lnTo>
                    <a:lnTo>
                      <a:pt x="371" y="62"/>
                    </a:lnTo>
                    <a:lnTo>
                      <a:pt x="371" y="62"/>
                    </a:lnTo>
                    <a:close/>
                    <a:moveTo>
                      <a:pt x="309" y="62"/>
                    </a:moveTo>
                    <a:lnTo>
                      <a:pt x="309" y="62"/>
                    </a:lnTo>
                    <a:lnTo>
                      <a:pt x="371" y="62"/>
                    </a:lnTo>
                    <a:lnTo>
                      <a:pt x="371" y="62"/>
                    </a:lnTo>
                    <a:lnTo>
                      <a:pt x="309" y="62"/>
                    </a:lnTo>
                    <a:close/>
                    <a:moveTo>
                      <a:pt x="1112" y="62"/>
                    </a:move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close/>
                    <a:moveTo>
                      <a:pt x="1112" y="62"/>
                    </a:move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lnTo>
                      <a:pt x="1112" y="62"/>
                    </a:lnTo>
                    <a:close/>
                    <a:moveTo>
                      <a:pt x="309" y="62"/>
                    </a:moveTo>
                    <a:lnTo>
                      <a:pt x="309" y="62"/>
                    </a:lnTo>
                    <a:lnTo>
                      <a:pt x="309" y="62"/>
                    </a:lnTo>
                    <a:lnTo>
                      <a:pt x="309" y="62"/>
                    </a:lnTo>
                    <a:lnTo>
                      <a:pt x="309" y="62"/>
                    </a:lnTo>
                    <a:close/>
                    <a:moveTo>
                      <a:pt x="309" y="62"/>
                    </a:moveTo>
                    <a:lnTo>
                      <a:pt x="309" y="62"/>
                    </a:lnTo>
                    <a:lnTo>
                      <a:pt x="309" y="62"/>
                    </a:lnTo>
                    <a:lnTo>
                      <a:pt x="309" y="62"/>
                    </a:lnTo>
                    <a:lnTo>
                      <a:pt x="309" y="62"/>
                    </a:lnTo>
                    <a:close/>
                    <a:moveTo>
                      <a:pt x="247" y="62"/>
                    </a:moveTo>
                    <a:lnTo>
                      <a:pt x="247" y="62"/>
                    </a:lnTo>
                    <a:lnTo>
                      <a:pt x="247" y="62"/>
                    </a:lnTo>
                    <a:lnTo>
                      <a:pt x="247" y="62"/>
                    </a:lnTo>
                    <a:lnTo>
                      <a:pt x="247" y="62"/>
                    </a:lnTo>
                    <a:close/>
                    <a:moveTo>
                      <a:pt x="247" y="62"/>
                    </a:moveTo>
                    <a:lnTo>
                      <a:pt x="247" y="62"/>
                    </a:lnTo>
                    <a:lnTo>
                      <a:pt x="247" y="62"/>
                    </a:lnTo>
                    <a:lnTo>
                      <a:pt x="247" y="62"/>
                    </a:lnTo>
                    <a:lnTo>
                      <a:pt x="247" y="62"/>
                    </a:lnTo>
                    <a:close/>
                    <a:moveTo>
                      <a:pt x="185" y="62"/>
                    </a:moveTo>
                    <a:lnTo>
                      <a:pt x="185" y="62"/>
                    </a:lnTo>
                    <a:lnTo>
                      <a:pt x="247" y="62"/>
                    </a:lnTo>
                    <a:lnTo>
                      <a:pt x="247" y="62"/>
                    </a:lnTo>
                    <a:lnTo>
                      <a:pt x="185" y="62"/>
                    </a:lnTo>
                    <a:close/>
                    <a:moveTo>
                      <a:pt x="185" y="0"/>
                    </a:moveTo>
                    <a:lnTo>
                      <a:pt x="185" y="0"/>
                    </a:lnTo>
                    <a:lnTo>
                      <a:pt x="185" y="0"/>
                    </a:lnTo>
                    <a:lnTo>
                      <a:pt x="185" y="0"/>
                    </a:lnTo>
                    <a:lnTo>
                      <a:pt x="185" y="0"/>
                    </a:lnTo>
                    <a:close/>
                    <a:moveTo>
                      <a:pt x="185" y="0"/>
                    </a:moveTo>
                    <a:lnTo>
                      <a:pt x="185" y="0"/>
                    </a:lnTo>
                    <a:lnTo>
                      <a:pt x="185" y="0"/>
                    </a:lnTo>
                    <a:lnTo>
                      <a:pt x="185" y="0"/>
                    </a:lnTo>
                    <a:lnTo>
                      <a:pt x="185" y="0"/>
                    </a:lnTo>
                    <a:close/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6B3B3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0" name="Google Shape;1258;p142">
                <a:extLst>
                  <a:ext uri="{FF2B5EF4-FFF2-40B4-BE49-F238E27FC236}">
                    <a16:creationId xmlns:a16="http://schemas.microsoft.com/office/drawing/2014/main" id="{1ECF0395-C3DF-0C16-82CE-E51F78EE800A}"/>
                  </a:ext>
                </a:extLst>
              </p:cNvPr>
              <p:cNvSpPr/>
              <p:nvPr/>
            </p:nvSpPr>
            <p:spPr>
              <a:xfrm>
                <a:off x="11252533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1" name="Google Shape;1259;p142">
                <a:extLst>
                  <a:ext uri="{FF2B5EF4-FFF2-40B4-BE49-F238E27FC236}">
                    <a16:creationId xmlns:a16="http://schemas.microsoft.com/office/drawing/2014/main" id="{98736771-5387-317A-98AF-F94BF6CC2D68}"/>
                  </a:ext>
                </a:extLst>
              </p:cNvPr>
              <p:cNvSpPr/>
              <p:nvPr/>
            </p:nvSpPr>
            <p:spPr>
              <a:xfrm>
                <a:off x="11251809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2" name="Google Shape;1260;p142">
                <a:extLst>
                  <a:ext uri="{FF2B5EF4-FFF2-40B4-BE49-F238E27FC236}">
                    <a16:creationId xmlns:a16="http://schemas.microsoft.com/office/drawing/2014/main" id="{7E45E10D-7EC1-87F3-3F50-0C7B9AACC983}"/>
                  </a:ext>
                </a:extLst>
              </p:cNvPr>
              <p:cNvSpPr/>
              <p:nvPr/>
            </p:nvSpPr>
            <p:spPr>
              <a:xfrm>
                <a:off x="11252533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3" name="Google Shape;1261;p142">
                <a:extLst>
                  <a:ext uri="{FF2B5EF4-FFF2-40B4-BE49-F238E27FC236}">
                    <a16:creationId xmlns:a16="http://schemas.microsoft.com/office/drawing/2014/main" id="{A6D6966F-978C-3E34-CF54-DC98D955E5E7}"/>
                  </a:ext>
                </a:extLst>
              </p:cNvPr>
              <p:cNvSpPr/>
              <p:nvPr/>
            </p:nvSpPr>
            <p:spPr>
              <a:xfrm>
                <a:off x="11251809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4" name="Google Shape;1262;p142">
                <a:extLst>
                  <a:ext uri="{FF2B5EF4-FFF2-40B4-BE49-F238E27FC236}">
                    <a16:creationId xmlns:a16="http://schemas.microsoft.com/office/drawing/2014/main" id="{5DFC62F4-D131-5CB9-DB32-9E78982DC275}"/>
                  </a:ext>
                </a:extLst>
              </p:cNvPr>
              <p:cNvSpPr/>
              <p:nvPr/>
            </p:nvSpPr>
            <p:spPr>
              <a:xfrm>
                <a:off x="11251086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5" name="Google Shape;1263;p142">
                <a:extLst>
                  <a:ext uri="{FF2B5EF4-FFF2-40B4-BE49-F238E27FC236}">
                    <a16:creationId xmlns:a16="http://schemas.microsoft.com/office/drawing/2014/main" id="{308B494B-0980-DFEC-CF3E-454D42BD395E}"/>
                  </a:ext>
                </a:extLst>
              </p:cNvPr>
              <p:cNvSpPr/>
              <p:nvPr/>
            </p:nvSpPr>
            <p:spPr>
              <a:xfrm>
                <a:off x="11251086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6" name="Google Shape;1264;p142">
                <a:extLst>
                  <a:ext uri="{FF2B5EF4-FFF2-40B4-BE49-F238E27FC236}">
                    <a16:creationId xmlns:a16="http://schemas.microsoft.com/office/drawing/2014/main" id="{F65BE5A6-C8E1-EE91-1F1B-D1FEBA93B3F8}"/>
                  </a:ext>
                </a:extLst>
              </p:cNvPr>
              <p:cNvSpPr/>
              <p:nvPr/>
            </p:nvSpPr>
            <p:spPr>
              <a:xfrm>
                <a:off x="11252533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7" name="Google Shape;1265;p142">
                <a:extLst>
                  <a:ext uri="{FF2B5EF4-FFF2-40B4-BE49-F238E27FC236}">
                    <a16:creationId xmlns:a16="http://schemas.microsoft.com/office/drawing/2014/main" id="{A901D7F9-1496-EE47-1DB2-2191AB2F1E3F}"/>
                  </a:ext>
                </a:extLst>
              </p:cNvPr>
              <p:cNvSpPr/>
              <p:nvPr/>
            </p:nvSpPr>
            <p:spPr>
              <a:xfrm>
                <a:off x="11251086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8" name="Google Shape;1266;p142">
                <a:extLst>
                  <a:ext uri="{FF2B5EF4-FFF2-40B4-BE49-F238E27FC236}">
                    <a16:creationId xmlns:a16="http://schemas.microsoft.com/office/drawing/2014/main" id="{8726018C-1EAD-1BD7-DFBB-F88B0A7C13F5}"/>
                  </a:ext>
                </a:extLst>
              </p:cNvPr>
              <p:cNvSpPr/>
              <p:nvPr/>
            </p:nvSpPr>
            <p:spPr>
              <a:xfrm>
                <a:off x="11253256" y="2705733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9" name="Google Shape;1267;p142">
                <a:extLst>
                  <a:ext uri="{FF2B5EF4-FFF2-40B4-BE49-F238E27FC236}">
                    <a16:creationId xmlns:a16="http://schemas.microsoft.com/office/drawing/2014/main" id="{10C15404-26E2-5585-9B5B-31BDA8B5A4EF}"/>
                  </a:ext>
                </a:extLst>
              </p:cNvPr>
              <p:cNvSpPr/>
              <p:nvPr/>
            </p:nvSpPr>
            <p:spPr>
              <a:xfrm>
                <a:off x="11250374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0" name="Google Shape;1268;p142">
                <a:extLst>
                  <a:ext uri="{FF2B5EF4-FFF2-40B4-BE49-F238E27FC236}">
                    <a16:creationId xmlns:a16="http://schemas.microsoft.com/office/drawing/2014/main" id="{4C611DEB-40B4-AAB2-EE66-C08BDDFB961B}"/>
                  </a:ext>
                </a:extLst>
              </p:cNvPr>
              <p:cNvSpPr/>
              <p:nvPr/>
            </p:nvSpPr>
            <p:spPr>
              <a:xfrm>
                <a:off x="1125396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1" name="Google Shape;1269;p142">
                <a:extLst>
                  <a:ext uri="{FF2B5EF4-FFF2-40B4-BE49-F238E27FC236}">
                    <a16:creationId xmlns:a16="http://schemas.microsoft.com/office/drawing/2014/main" id="{E28DA8A8-54A3-7F28-E891-8C15757A126C}"/>
                  </a:ext>
                </a:extLst>
              </p:cNvPr>
              <p:cNvSpPr/>
              <p:nvPr/>
            </p:nvSpPr>
            <p:spPr>
              <a:xfrm>
                <a:off x="1125396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2" name="Google Shape;1270;p142">
                <a:extLst>
                  <a:ext uri="{FF2B5EF4-FFF2-40B4-BE49-F238E27FC236}">
                    <a16:creationId xmlns:a16="http://schemas.microsoft.com/office/drawing/2014/main" id="{B0F52AC3-B87B-88BB-BB79-98313B1F980E}"/>
                  </a:ext>
                </a:extLst>
              </p:cNvPr>
              <p:cNvSpPr/>
              <p:nvPr/>
            </p:nvSpPr>
            <p:spPr>
              <a:xfrm>
                <a:off x="11250374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3" name="Google Shape;1271;p142">
                <a:extLst>
                  <a:ext uri="{FF2B5EF4-FFF2-40B4-BE49-F238E27FC236}">
                    <a16:creationId xmlns:a16="http://schemas.microsoft.com/office/drawing/2014/main" id="{BBB8CE64-3C64-19D4-98C6-25C759B43A45}"/>
                  </a:ext>
                </a:extLst>
              </p:cNvPr>
              <p:cNvSpPr/>
              <p:nvPr/>
            </p:nvSpPr>
            <p:spPr>
              <a:xfrm>
                <a:off x="11254692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4" name="Google Shape;1272;p142">
                <a:extLst>
                  <a:ext uri="{FF2B5EF4-FFF2-40B4-BE49-F238E27FC236}">
                    <a16:creationId xmlns:a16="http://schemas.microsoft.com/office/drawing/2014/main" id="{59FA473A-D78F-B2B7-5E9D-D23D5B3C2B74}"/>
                  </a:ext>
                </a:extLst>
              </p:cNvPr>
              <p:cNvSpPr/>
              <p:nvPr/>
            </p:nvSpPr>
            <p:spPr>
              <a:xfrm>
                <a:off x="11249650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5" name="Google Shape;1273;p142">
                <a:extLst>
                  <a:ext uri="{FF2B5EF4-FFF2-40B4-BE49-F238E27FC236}">
                    <a16:creationId xmlns:a16="http://schemas.microsoft.com/office/drawing/2014/main" id="{1C884B9E-8DDD-1D2C-512C-DB05EC03EF6D}"/>
                  </a:ext>
                </a:extLst>
              </p:cNvPr>
              <p:cNvSpPr/>
              <p:nvPr/>
            </p:nvSpPr>
            <p:spPr>
              <a:xfrm>
                <a:off x="112496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6" name="Google Shape;1274;p142">
                <a:extLst>
                  <a:ext uri="{FF2B5EF4-FFF2-40B4-BE49-F238E27FC236}">
                    <a16:creationId xmlns:a16="http://schemas.microsoft.com/office/drawing/2014/main" id="{245AFD92-99C8-0E8B-3108-1F686CC3F5C6}"/>
                  </a:ext>
                </a:extLst>
              </p:cNvPr>
              <p:cNvSpPr/>
              <p:nvPr/>
            </p:nvSpPr>
            <p:spPr>
              <a:xfrm>
                <a:off x="11254692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7" name="Google Shape;1275;p142">
                <a:extLst>
                  <a:ext uri="{FF2B5EF4-FFF2-40B4-BE49-F238E27FC236}">
                    <a16:creationId xmlns:a16="http://schemas.microsoft.com/office/drawing/2014/main" id="{0DB363B7-FCB0-9686-C383-232285C91874}"/>
                  </a:ext>
                </a:extLst>
              </p:cNvPr>
              <p:cNvSpPr/>
              <p:nvPr/>
            </p:nvSpPr>
            <p:spPr>
              <a:xfrm>
                <a:off x="112496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8" name="Google Shape;1276;p142">
                <a:extLst>
                  <a:ext uri="{FF2B5EF4-FFF2-40B4-BE49-F238E27FC236}">
                    <a16:creationId xmlns:a16="http://schemas.microsoft.com/office/drawing/2014/main" id="{8E4A666B-B69D-1FB4-84FE-A55DEA169D07}"/>
                  </a:ext>
                </a:extLst>
              </p:cNvPr>
              <p:cNvSpPr/>
              <p:nvPr/>
            </p:nvSpPr>
            <p:spPr>
              <a:xfrm>
                <a:off x="11254692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9" name="Google Shape;1277;p142">
                <a:extLst>
                  <a:ext uri="{FF2B5EF4-FFF2-40B4-BE49-F238E27FC236}">
                    <a16:creationId xmlns:a16="http://schemas.microsoft.com/office/drawing/2014/main" id="{46B44F65-0F2D-294C-5008-B6A2D98BA62A}"/>
                  </a:ext>
                </a:extLst>
              </p:cNvPr>
              <p:cNvSpPr/>
              <p:nvPr/>
            </p:nvSpPr>
            <p:spPr>
              <a:xfrm>
                <a:off x="11248927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0" name="Google Shape;1278;p142">
                <a:extLst>
                  <a:ext uri="{FF2B5EF4-FFF2-40B4-BE49-F238E27FC236}">
                    <a16:creationId xmlns:a16="http://schemas.microsoft.com/office/drawing/2014/main" id="{9450BC57-E2ED-C901-D86D-94BEFB00A382}"/>
                  </a:ext>
                </a:extLst>
              </p:cNvPr>
              <p:cNvSpPr/>
              <p:nvPr/>
            </p:nvSpPr>
            <p:spPr>
              <a:xfrm>
                <a:off x="11255415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1279;p142">
                <a:extLst>
                  <a:ext uri="{FF2B5EF4-FFF2-40B4-BE49-F238E27FC236}">
                    <a16:creationId xmlns:a16="http://schemas.microsoft.com/office/drawing/2014/main" id="{D2C04731-7B37-1030-28C7-FC3AC122ED37}"/>
                  </a:ext>
                </a:extLst>
              </p:cNvPr>
              <p:cNvSpPr/>
              <p:nvPr/>
            </p:nvSpPr>
            <p:spPr>
              <a:xfrm>
                <a:off x="11248927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2" name="Google Shape;1280;p142">
                <a:extLst>
                  <a:ext uri="{FF2B5EF4-FFF2-40B4-BE49-F238E27FC236}">
                    <a16:creationId xmlns:a16="http://schemas.microsoft.com/office/drawing/2014/main" id="{C2544405-3257-7DEC-3369-A79AAA01A74D}"/>
                  </a:ext>
                </a:extLst>
              </p:cNvPr>
              <p:cNvSpPr/>
              <p:nvPr/>
            </p:nvSpPr>
            <p:spPr>
              <a:xfrm>
                <a:off x="11255415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3" name="Google Shape;1281;p142">
                <a:extLst>
                  <a:ext uri="{FF2B5EF4-FFF2-40B4-BE49-F238E27FC236}">
                    <a16:creationId xmlns:a16="http://schemas.microsoft.com/office/drawing/2014/main" id="{8DE7D1ED-3FCB-8D5A-B8D4-11933E00B126}"/>
                  </a:ext>
                </a:extLst>
              </p:cNvPr>
              <p:cNvSpPr/>
              <p:nvPr/>
            </p:nvSpPr>
            <p:spPr>
              <a:xfrm>
                <a:off x="11256139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4" name="Google Shape;1282;p142">
                <a:extLst>
                  <a:ext uri="{FF2B5EF4-FFF2-40B4-BE49-F238E27FC236}">
                    <a16:creationId xmlns:a16="http://schemas.microsoft.com/office/drawing/2014/main" id="{E7A42474-F9CC-0A4B-DC2A-19CF3CBDF170}"/>
                  </a:ext>
                </a:extLst>
              </p:cNvPr>
              <p:cNvSpPr/>
              <p:nvPr/>
            </p:nvSpPr>
            <p:spPr>
              <a:xfrm>
                <a:off x="11248203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5" name="Google Shape;1283;p142">
                <a:extLst>
                  <a:ext uri="{FF2B5EF4-FFF2-40B4-BE49-F238E27FC236}">
                    <a16:creationId xmlns:a16="http://schemas.microsoft.com/office/drawing/2014/main" id="{C667FF17-DE43-5FFD-10DB-335194F1C29F}"/>
                  </a:ext>
                </a:extLst>
              </p:cNvPr>
              <p:cNvSpPr/>
              <p:nvPr/>
            </p:nvSpPr>
            <p:spPr>
              <a:xfrm>
                <a:off x="11256139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6" name="Google Shape;1284;p142">
                <a:extLst>
                  <a:ext uri="{FF2B5EF4-FFF2-40B4-BE49-F238E27FC236}">
                    <a16:creationId xmlns:a16="http://schemas.microsoft.com/office/drawing/2014/main" id="{7D230FB7-16B4-D0FF-1ED4-375FC07C59BC}"/>
                  </a:ext>
                </a:extLst>
              </p:cNvPr>
              <p:cNvSpPr/>
              <p:nvPr/>
            </p:nvSpPr>
            <p:spPr>
              <a:xfrm>
                <a:off x="11248203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1285;p142">
                <a:extLst>
                  <a:ext uri="{FF2B5EF4-FFF2-40B4-BE49-F238E27FC236}">
                    <a16:creationId xmlns:a16="http://schemas.microsoft.com/office/drawing/2014/main" id="{16B5C99A-9F50-E6A5-E6A7-1C25854EAFD7}"/>
                  </a:ext>
                </a:extLst>
              </p:cNvPr>
              <p:cNvSpPr/>
              <p:nvPr/>
            </p:nvSpPr>
            <p:spPr>
              <a:xfrm>
                <a:off x="11247480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8" name="Google Shape;1286;p142">
                <a:extLst>
                  <a:ext uri="{FF2B5EF4-FFF2-40B4-BE49-F238E27FC236}">
                    <a16:creationId xmlns:a16="http://schemas.microsoft.com/office/drawing/2014/main" id="{C1DB0064-8203-A68D-5A19-FEA432651C5C}"/>
                  </a:ext>
                </a:extLst>
              </p:cNvPr>
              <p:cNvSpPr/>
              <p:nvPr/>
            </p:nvSpPr>
            <p:spPr>
              <a:xfrm>
                <a:off x="112568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9" name="Google Shape;1287;p142">
                <a:extLst>
                  <a:ext uri="{FF2B5EF4-FFF2-40B4-BE49-F238E27FC236}">
                    <a16:creationId xmlns:a16="http://schemas.microsoft.com/office/drawing/2014/main" id="{DF32F459-DABC-660D-FC62-484C1F5AA4D7}"/>
                  </a:ext>
                </a:extLst>
              </p:cNvPr>
              <p:cNvSpPr/>
              <p:nvPr/>
            </p:nvSpPr>
            <p:spPr>
              <a:xfrm>
                <a:off x="112568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" name="Google Shape;1288;p142">
                <a:extLst>
                  <a:ext uri="{FF2B5EF4-FFF2-40B4-BE49-F238E27FC236}">
                    <a16:creationId xmlns:a16="http://schemas.microsoft.com/office/drawing/2014/main" id="{536202E9-45BD-DA5C-F835-71AE5462A8F4}"/>
                  </a:ext>
                </a:extLst>
              </p:cNvPr>
              <p:cNvSpPr/>
              <p:nvPr/>
            </p:nvSpPr>
            <p:spPr>
              <a:xfrm>
                <a:off x="1124748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" name="Google Shape;1289;p142">
                <a:extLst>
                  <a:ext uri="{FF2B5EF4-FFF2-40B4-BE49-F238E27FC236}">
                    <a16:creationId xmlns:a16="http://schemas.microsoft.com/office/drawing/2014/main" id="{77B29A9D-B30F-E613-8720-B39B5B037D2B}"/>
                  </a:ext>
                </a:extLst>
              </p:cNvPr>
              <p:cNvSpPr/>
              <p:nvPr/>
            </p:nvSpPr>
            <p:spPr>
              <a:xfrm>
                <a:off x="1124748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2" name="Google Shape;1290;p142">
                <a:extLst>
                  <a:ext uri="{FF2B5EF4-FFF2-40B4-BE49-F238E27FC236}">
                    <a16:creationId xmlns:a16="http://schemas.microsoft.com/office/drawing/2014/main" id="{850733C6-B8EE-93BF-E342-804331CDB5F2}"/>
                  </a:ext>
                </a:extLst>
              </p:cNvPr>
              <p:cNvSpPr/>
              <p:nvPr/>
            </p:nvSpPr>
            <p:spPr>
              <a:xfrm>
                <a:off x="1124676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3" name="Google Shape;1291;p142">
                <a:extLst>
                  <a:ext uri="{FF2B5EF4-FFF2-40B4-BE49-F238E27FC236}">
                    <a16:creationId xmlns:a16="http://schemas.microsoft.com/office/drawing/2014/main" id="{A53A1754-0250-146B-F315-E081B50E2581}"/>
                  </a:ext>
                </a:extLst>
              </p:cNvPr>
              <p:cNvSpPr/>
              <p:nvPr/>
            </p:nvSpPr>
            <p:spPr>
              <a:xfrm>
                <a:off x="1124676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4" name="Google Shape;1292;p142">
                <a:extLst>
                  <a:ext uri="{FF2B5EF4-FFF2-40B4-BE49-F238E27FC236}">
                    <a16:creationId xmlns:a16="http://schemas.microsoft.com/office/drawing/2014/main" id="{342AD965-A115-7E12-B29D-A8CE13288730}"/>
                  </a:ext>
                </a:extLst>
              </p:cNvPr>
              <p:cNvSpPr/>
              <p:nvPr/>
            </p:nvSpPr>
            <p:spPr>
              <a:xfrm>
                <a:off x="11246045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5" name="Google Shape;1293;p142">
                <a:extLst>
                  <a:ext uri="{FF2B5EF4-FFF2-40B4-BE49-F238E27FC236}">
                    <a16:creationId xmlns:a16="http://schemas.microsoft.com/office/drawing/2014/main" id="{290DE4A4-5948-E92F-5DC3-651F208DBC1D}"/>
                  </a:ext>
                </a:extLst>
              </p:cNvPr>
              <p:cNvSpPr/>
              <p:nvPr/>
            </p:nvSpPr>
            <p:spPr>
              <a:xfrm>
                <a:off x="11246045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6" name="Google Shape;1294;p142">
                <a:extLst>
                  <a:ext uri="{FF2B5EF4-FFF2-40B4-BE49-F238E27FC236}">
                    <a16:creationId xmlns:a16="http://schemas.microsoft.com/office/drawing/2014/main" id="{EBC73EC6-FA33-8ACD-8AA9-91DDFA6940BD}"/>
                  </a:ext>
                </a:extLst>
              </p:cNvPr>
              <p:cNvSpPr/>
              <p:nvPr/>
            </p:nvSpPr>
            <p:spPr>
              <a:xfrm>
                <a:off x="11246045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7" name="Google Shape;1295;p142">
                <a:extLst>
                  <a:ext uri="{FF2B5EF4-FFF2-40B4-BE49-F238E27FC236}">
                    <a16:creationId xmlns:a16="http://schemas.microsoft.com/office/drawing/2014/main" id="{44364E74-E9FD-0DAA-4243-1894B2D14BC5}"/>
                  </a:ext>
                </a:extLst>
              </p:cNvPr>
              <p:cNvSpPr/>
              <p:nvPr/>
            </p:nvSpPr>
            <p:spPr>
              <a:xfrm>
                <a:off x="11244598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8" name="Google Shape;1296;p142">
                <a:extLst>
                  <a:ext uri="{FF2B5EF4-FFF2-40B4-BE49-F238E27FC236}">
                    <a16:creationId xmlns:a16="http://schemas.microsoft.com/office/drawing/2014/main" id="{C5F0B9D3-127F-EB48-25F1-32687BCCC0FE}"/>
                  </a:ext>
                </a:extLst>
              </p:cNvPr>
              <p:cNvSpPr/>
              <p:nvPr/>
            </p:nvSpPr>
            <p:spPr>
              <a:xfrm>
                <a:off x="11244598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9" name="Google Shape;1297;p142">
                <a:extLst>
                  <a:ext uri="{FF2B5EF4-FFF2-40B4-BE49-F238E27FC236}">
                    <a16:creationId xmlns:a16="http://schemas.microsoft.com/office/drawing/2014/main" id="{17920EC7-BAE6-D0D2-3C18-C9954AC47C40}"/>
                  </a:ext>
                </a:extLst>
              </p:cNvPr>
              <p:cNvSpPr/>
              <p:nvPr/>
            </p:nvSpPr>
            <p:spPr>
              <a:xfrm>
                <a:off x="11244598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0" name="Google Shape;1298;p142">
                <a:extLst>
                  <a:ext uri="{FF2B5EF4-FFF2-40B4-BE49-F238E27FC236}">
                    <a16:creationId xmlns:a16="http://schemas.microsoft.com/office/drawing/2014/main" id="{C36B9A9A-CE47-2D41-024C-CEA6B2B25D61}"/>
                  </a:ext>
                </a:extLst>
              </p:cNvPr>
              <p:cNvSpPr/>
              <p:nvPr/>
            </p:nvSpPr>
            <p:spPr>
              <a:xfrm>
                <a:off x="11243886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1" name="Google Shape;1299;p142">
                <a:extLst>
                  <a:ext uri="{FF2B5EF4-FFF2-40B4-BE49-F238E27FC236}">
                    <a16:creationId xmlns:a16="http://schemas.microsoft.com/office/drawing/2014/main" id="{02731FB8-993F-6C10-63CD-1934D7C605D1}"/>
                  </a:ext>
                </a:extLst>
              </p:cNvPr>
              <p:cNvSpPr/>
              <p:nvPr/>
            </p:nvSpPr>
            <p:spPr>
              <a:xfrm>
                <a:off x="11256850" y="2705009"/>
                <a:ext cx="2183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87" h="63" extrusionOk="0">
                    <a:moveTo>
                      <a:pt x="1" y="62"/>
                    </a:moveTo>
                    <a:lnTo>
                      <a:pt x="1" y="62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1" y="62"/>
                    </a:lnTo>
                    <a:close/>
                    <a:moveTo>
                      <a:pt x="63" y="62"/>
                    </a:moveTo>
                    <a:lnTo>
                      <a:pt x="63" y="62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63" y="62"/>
                    </a:lnTo>
                    <a:close/>
                    <a:moveTo>
                      <a:pt x="63" y="62"/>
                    </a:moveTo>
                    <a:lnTo>
                      <a:pt x="63" y="62"/>
                    </a:lnTo>
                    <a:lnTo>
                      <a:pt x="63" y="62"/>
                    </a:lnTo>
                    <a:lnTo>
                      <a:pt x="63" y="62"/>
                    </a:lnTo>
                    <a:lnTo>
                      <a:pt x="63" y="62"/>
                    </a:lnTo>
                    <a:close/>
                    <a:moveTo>
                      <a:pt x="63" y="62"/>
                    </a:moveTo>
                    <a:lnTo>
                      <a:pt x="63" y="62"/>
                    </a:lnTo>
                    <a:lnTo>
                      <a:pt x="63" y="62"/>
                    </a:lnTo>
                    <a:lnTo>
                      <a:pt x="63" y="62"/>
                    </a:lnTo>
                    <a:lnTo>
                      <a:pt x="63" y="62"/>
                    </a:lnTo>
                    <a:close/>
                    <a:moveTo>
                      <a:pt x="125" y="62"/>
                    </a:moveTo>
                    <a:lnTo>
                      <a:pt x="125" y="62"/>
                    </a:lnTo>
                    <a:lnTo>
                      <a:pt x="125" y="62"/>
                    </a:lnTo>
                    <a:lnTo>
                      <a:pt x="125" y="62"/>
                    </a:lnTo>
                    <a:lnTo>
                      <a:pt x="125" y="62"/>
                    </a:lnTo>
                    <a:close/>
                    <a:moveTo>
                      <a:pt x="186" y="0"/>
                    </a:move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close/>
                    <a:moveTo>
                      <a:pt x="186" y="0"/>
                    </a:move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2" name="Google Shape;1300;p142">
                <a:extLst>
                  <a:ext uri="{FF2B5EF4-FFF2-40B4-BE49-F238E27FC236}">
                    <a16:creationId xmlns:a16="http://schemas.microsoft.com/office/drawing/2014/main" id="{7F9AD5F3-DC76-A02F-EA10-07802C7F9ABD}"/>
                  </a:ext>
                </a:extLst>
              </p:cNvPr>
              <p:cNvSpPr/>
              <p:nvPr/>
            </p:nvSpPr>
            <p:spPr>
              <a:xfrm>
                <a:off x="11256850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3" name="Google Shape;1301;p142">
                <a:extLst>
                  <a:ext uri="{FF2B5EF4-FFF2-40B4-BE49-F238E27FC236}">
                    <a16:creationId xmlns:a16="http://schemas.microsoft.com/office/drawing/2014/main" id="{26477055-1756-F682-176C-DE5EF7E086A1}"/>
                  </a:ext>
                </a:extLst>
              </p:cNvPr>
              <p:cNvSpPr/>
              <p:nvPr/>
            </p:nvSpPr>
            <p:spPr>
              <a:xfrm>
                <a:off x="11256850" y="2705733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0"/>
                    </a:moveTo>
                    <a:lnTo>
                      <a:pt x="6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4" name="Google Shape;1302;p142">
                <a:extLst>
                  <a:ext uri="{FF2B5EF4-FFF2-40B4-BE49-F238E27FC236}">
                    <a16:creationId xmlns:a16="http://schemas.microsoft.com/office/drawing/2014/main" id="{5B7FB640-82D9-FD59-D6B3-151537EC46B5}"/>
                  </a:ext>
                </a:extLst>
              </p:cNvPr>
              <p:cNvSpPr/>
              <p:nvPr/>
            </p:nvSpPr>
            <p:spPr>
              <a:xfrm>
                <a:off x="11257574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5" name="Google Shape;1303;p142">
                <a:extLst>
                  <a:ext uri="{FF2B5EF4-FFF2-40B4-BE49-F238E27FC236}">
                    <a16:creationId xmlns:a16="http://schemas.microsoft.com/office/drawing/2014/main" id="{964EBFF5-2486-249D-ACE1-C2A721908351}"/>
                  </a:ext>
                </a:extLst>
              </p:cNvPr>
              <p:cNvSpPr/>
              <p:nvPr/>
            </p:nvSpPr>
            <p:spPr>
              <a:xfrm>
                <a:off x="11257574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6" name="Google Shape;1304;p142">
                <a:extLst>
                  <a:ext uri="{FF2B5EF4-FFF2-40B4-BE49-F238E27FC236}">
                    <a16:creationId xmlns:a16="http://schemas.microsoft.com/office/drawing/2014/main" id="{AA5A6651-4B36-72E7-E307-2B9381AB7819}"/>
                  </a:ext>
                </a:extLst>
              </p:cNvPr>
              <p:cNvSpPr/>
              <p:nvPr/>
            </p:nvSpPr>
            <p:spPr>
              <a:xfrm>
                <a:off x="11258298" y="270573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7" name="Google Shape;1305;p142">
                <a:extLst>
                  <a:ext uri="{FF2B5EF4-FFF2-40B4-BE49-F238E27FC236}">
                    <a16:creationId xmlns:a16="http://schemas.microsoft.com/office/drawing/2014/main" id="{C2ABEB44-ED0C-479C-4AB6-C640F79A1F23}"/>
                  </a:ext>
                </a:extLst>
              </p:cNvPr>
              <p:cNvSpPr/>
              <p:nvPr/>
            </p:nvSpPr>
            <p:spPr>
              <a:xfrm>
                <a:off x="11259021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8" name="Google Shape;1306;p142">
                <a:extLst>
                  <a:ext uri="{FF2B5EF4-FFF2-40B4-BE49-F238E27FC236}">
                    <a16:creationId xmlns:a16="http://schemas.microsoft.com/office/drawing/2014/main" id="{F1E61007-E9DC-CB5F-7D12-BA34E2589608}"/>
                  </a:ext>
                </a:extLst>
              </p:cNvPr>
              <p:cNvSpPr/>
              <p:nvPr/>
            </p:nvSpPr>
            <p:spPr>
              <a:xfrm>
                <a:off x="11259021" y="270500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9" name="Google Shape;1307;p142">
                <a:extLst>
                  <a:ext uri="{FF2B5EF4-FFF2-40B4-BE49-F238E27FC236}">
                    <a16:creationId xmlns:a16="http://schemas.microsoft.com/office/drawing/2014/main" id="{8C41D01E-2C3B-43D8-C962-07D4EB3810EC}"/>
                  </a:ext>
                </a:extLst>
              </p:cNvPr>
              <p:cNvSpPr/>
              <p:nvPr/>
            </p:nvSpPr>
            <p:spPr>
              <a:xfrm>
                <a:off x="11098997" y="2604817"/>
                <a:ext cx="183142" cy="100977"/>
              </a:xfrm>
              <a:custGeom>
                <a:avLst/>
                <a:gdLst/>
                <a:ahLst/>
                <a:cxnLst/>
                <a:rect l="l" t="t" r="r" b="b"/>
                <a:pathLst>
                  <a:path w="15690" h="8649" extrusionOk="0">
                    <a:moveTo>
                      <a:pt x="3459" y="0"/>
                    </a:moveTo>
                    <a:lnTo>
                      <a:pt x="2656" y="556"/>
                    </a:lnTo>
                    <a:lnTo>
                      <a:pt x="1792" y="989"/>
                    </a:lnTo>
                    <a:lnTo>
                      <a:pt x="927" y="1421"/>
                    </a:lnTo>
                    <a:lnTo>
                      <a:pt x="0" y="1853"/>
                    </a:lnTo>
                    <a:lnTo>
                      <a:pt x="556" y="2533"/>
                    </a:lnTo>
                    <a:lnTo>
                      <a:pt x="1112" y="3212"/>
                    </a:lnTo>
                    <a:lnTo>
                      <a:pt x="1730" y="3892"/>
                    </a:lnTo>
                    <a:lnTo>
                      <a:pt x="2409" y="4510"/>
                    </a:lnTo>
                    <a:lnTo>
                      <a:pt x="3089" y="5127"/>
                    </a:lnTo>
                    <a:lnTo>
                      <a:pt x="3830" y="5621"/>
                    </a:lnTo>
                    <a:lnTo>
                      <a:pt x="4571" y="6177"/>
                    </a:lnTo>
                    <a:lnTo>
                      <a:pt x="5312" y="6610"/>
                    </a:lnTo>
                    <a:lnTo>
                      <a:pt x="6116" y="7042"/>
                    </a:lnTo>
                    <a:lnTo>
                      <a:pt x="6980" y="7413"/>
                    </a:lnTo>
                    <a:lnTo>
                      <a:pt x="7845" y="7722"/>
                    </a:lnTo>
                    <a:lnTo>
                      <a:pt x="8710" y="8030"/>
                    </a:lnTo>
                    <a:lnTo>
                      <a:pt x="9636" y="8216"/>
                    </a:lnTo>
                    <a:lnTo>
                      <a:pt x="10563" y="8401"/>
                    </a:lnTo>
                    <a:lnTo>
                      <a:pt x="11490" y="8525"/>
                    </a:lnTo>
                    <a:lnTo>
                      <a:pt x="12416" y="8586"/>
                    </a:lnTo>
                    <a:lnTo>
                      <a:pt x="12601" y="8586"/>
                    </a:lnTo>
                    <a:lnTo>
                      <a:pt x="12601" y="8648"/>
                    </a:lnTo>
                    <a:lnTo>
                      <a:pt x="13652" y="8648"/>
                    </a:lnTo>
                    <a:lnTo>
                      <a:pt x="13713" y="8586"/>
                    </a:lnTo>
                    <a:lnTo>
                      <a:pt x="14702" y="8525"/>
                    </a:lnTo>
                    <a:lnTo>
                      <a:pt x="15690" y="8401"/>
                    </a:lnTo>
                    <a:lnTo>
                      <a:pt x="15072" y="7722"/>
                    </a:lnTo>
                    <a:lnTo>
                      <a:pt x="14578" y="6980"/>
                    </a:lnTo>
                    <a:lnTo>
                      <a:pt x="14084" y="6177"/>
                    </a:lnTo>
                    <a:lnTo>
                      <a:pt x="13713" y="5374"/>
                    </a:lnTo>
                    <a:lnTo>
                      <a:pt x="13404" y="4510"/>
                    </a:lnTo>
                    <a:lnTo>
                      <a:pt x="13096" y="3583"/>
                    </a:lnTo>
                    <a:lnTo>
                      <a:pt x="12910" y="2656"/>
                    </a:lnTo>
                    <a:lnTo>
                      <a:pt x="12787" y="1730"/>
                    </a:lnTo>
                    <a:lnTo>
                      <a:pt x="11366" y="1668"/>
                    </a:lnTo>
                    <a:lnTo>
                      <a:pt x="9945" y="1483"/>
                    </a:lnTo>
                    <a:lnTo>
                      <a:pt x="8525" y="1298"/>
                    </a:lnTo>
                    <a:lnTo>
                      <a:pt x="7166" y="1050"/>
                    </a:lnTo>
                    <a:lnTo>
                      <a:pt x="6239" y="865"/>
                    </a:lnTo>
                    <a:lnTo>
                      <a:pt x="5312" y="618"/>
                    </a:lnTo>
                    <a:lnTo>
                      <a:pt x="4386" y="309"/>
                    </a:lnTo>
                    <a:lnTo>
                      <a:pt x="3459" y="0"/>
                    </a:lnTo>
                    <a:close/>
                  </a:path>
                </a:pathLst>
              </a:custGeom>
              <a:solidFill>
                <a:srgbClr val="DCA96B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0" name="Google Shape;1308;p142">
                <a:extLst>
                  <a:ext uri="{FF2B5EF4-FFF2-40B4-BE49-F238E27FC236}">
                    <a16:creationId xmlns:a16="http://schemas.microsoft.com/office/drawing/2014/main" id="{6B46144E-F55A-B1A3-0930-61ECDC6C36B2}"/>
                  </a:ext>
                </a:extLst>
              </p:cNvPr>
              <p:cNvSpPr/>
              <p:nvPr/>
            </p:nvSpPr>
            <p:spPr>
              <a:xfrm>
                <a:off x="11098997" y="2604817"/>
                <a:ext cx="183142" cy="100977"/>
              </a:xfrm>
              <a:custGeom>
                <a:avLst/>
                <a:gdLst/>
                <a:ahLst/>
                <a:cxnLst/>
                <a:rect l="l" t="t" r="r" b="b"/>
                <a:pathLst>
                  <a:path w="15690" h="8649" fill="none" extrusionOk="0">
                    <a:moveTo>
                      <a:pt x="3459" y="0"/>
                    </a:moveTo>
                    <a:lnTo>
                      <a:pt x="3459" y="0"/>
                    </a:lnTo>
                    <a:lnTo>
                      <a:pt x="2656" y="556"/>
                    </a:lnTo>
                    <a:lnTo>
                      <a:pt x="1792" y="989"/>
                    </a:lnTo>
                    <a:lnTo>
                      <a:pt x="927" y="1421"/>
                    </a:lnTo>
                    <a:lnTo>
                      <a:pt x="0" y="1853"/>
                    </a:lnTo>
                    <a:lnTo>
                      <a:pt x="0" y="1853"/>
                    </a:lnTo>
                    <a:lnTo>
                      <a:pt x="556" y="2533"/>
                    </a:lnTo>
                    <a:lnTo>
                      <a:pt x="1112" y="3212"/>
                    </a:lnTo>
                    <a:lnTo>
                      <a:pt x="1730" y="3892"/>
                    </a:lnTo>
                    <a:lnTo>
                      <a:pt x="2409" y="4510"/>
                    </a:lnTo>
                    <a:lnTo>
                      <a:pt x="3089" y="5127"/>
                    </a:lnTo>
                    <a:lnTo>
                      <a:pt x="3830" y="5621"/>
                    </a:lnTo>
                    <a:lnTo>
                      <a:pt x="4571" y="6177"/>
                    </a:lnTo>
                    <a:lnTo>
                      <a:pt x="5312" y="6610"/>
                    </a:lnTo>
                    <a:lnTo>
                      <a:pt x="6116" y="7042"/>
                    </a:lnTo>
                    <a:lnTo>
                      <a:pt x="6980" y="7413"/>
                    </a:lnTo>
                    <a:lnTo>
                      <a:pt x="7845" y="7722"/>
                    </a:lnTo>
                    <a:lnTo>
                      <a:pt x="8710" y="8030"/>
                    </a:lnTo>
                    <a:lnTo>
                      <a:pt x="9636" y="8216"/>
                    </a:lnTo>
                    <a:lnTo>
                      <a:pt x="10563" y="8401"/>
                    </a:lnTo>
                    <a:lnTo>
                      <a:pt x="11490" y="8525"/>
                    </a:lnTo>
                    <a:lnTo>
                      <a:pt x="12416" y="8586"/>
                    </a:lnTo>
                    <a:lnTo>
                      <a:pt x="12416" y="8586"/>
                    </a:lnTo>
                    <a:lnTo>
                      <a:pt x="12416" y="8586"/>
                    </a:lnTo>
                    <a:lnTo>
                      <a:pt x="12416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478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586"/>
                    </a:lnTo>
                    <a:lnTo>
                      <a:pt x="12601" y="8648"/>
                    </a:lnTo>
                    <a:lnTo>
                      <a:pt x="12601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663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25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787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848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10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2972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34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096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157" y="8648"/>
                    </a:lnTo>
                    <a:lnTo>
                      <a:pt x="13219" y="8648"/>
                    </a:lnTo>
                    <a:lnTo>
                      <a:pt x="13219" y="8648"/>
                    </a:lnTo>
                    <a:lnTo>
                      <a:pt x="13219" y="8648"/>
                    </a:lnTo>
                    <a:lnTo>
                      <a:pt x="13219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281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343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04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466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28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590" y="8648"/>
                    </a:lnTo>
                    <a:lnTo>
                      <a:pt x="13652" y="8648"/>
                    </a:lnTo>
                    <a:lnTo>
                      <a:pt x="13652" y="8648"/>
                    </a:lnTo>
                    <a:lnTo>
                      <a:pt x="13652" y="8648"/>
                    </a:lnTo>
                    <a:lnTo>
                      <a:pt x="13652" y="8648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3713" y="8586"/>
                    </a:lnTo>
                    <a:lnTo>
                      <a:pt x="14702" y="8525"/>
                    </a:lnTo>
                    <a:lnTo>
                      <a:pt x="15690" y="8401"/>
                    </a:lnTo>
                    <a:lnTo>
                      <a:pt x="15690" y="8401"/>
                    </a:lnTo>
                    <a:lnTo>
                      <a:pt x="15072" y="7722"/>
                    </a:lnTo>
                    <a:lnTo>
                      <a:pt x="14578" y="6980"/>
                    </a:lnTo>
                    <a:lnTo>
                      <a:pt x="14084" y="6177"/>
                    </a:lnTo>
                    <a:lnTo>
                      <a:pt x="13713" y="5374"/>
                    </a:lnTo>
                    <a:lnTo>
                      <a:pt x="13404" y="4510"/>
                    </a:lnTo>
                    <a:lnTo>
                      <a:pt x="13096" y="3583"/>
                    </a:lnTo>
                    <a:lnTo>
                      <a:pt x="12910" y="2656"/>
                    </a:lnTo>
                    <a:lnTo>
                      <a:pt x="12787" y="1730"/>
                    </a:lnTo>
                    <a:lnTo>
                      <a:pt x="12787" y="1730"/>
                    </a:lnTo>
                    <a:lnTo>
                      <a:pt x="11366" y="1668"/>
                    </a:lnTo>
                    <a:lnTo>
                      <a:pt x="9945" y="1483"/>
                    </a:lnTo>
                    <a:lnTo>
                      <a:pt x="8525" y="1298"/>
                    </a:lnTo>
                    <a:lnTo>
                      <a:pt x="7166" y="1050"/>
                    </a:lnTo>
                    <a:lnTo>
                      <a:pt x="7166" y="1050"/>
                    </a:lnTo>
                    <a:lnTo>
                      <a:pt x="6239" y="865"/>
                    </a:lnTo>
                    <a:lnTo>
                      <a:pt x="5312" y="618"/>
                    </a:lnTo>
                    <a:lnTo>
                      <a:pt x="4386" y="309"/>
                    </a:lnTo>
                    <a:lnTo>
                      <a:pt x="3459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1" name="Google Shape;1309;p142">
                <a:extLst>
                  <a:ext uri="{FF2B5EF4-FFF2-40B4-BE49-F238E27FC236}">
                    <a16:creationId xmlns:a16="http://schemas.microsoft.com/office/drawing/2014/main" id="{B3B00A8F-A4D8-8901-67B7-760B018FC0D4}"/>
                  </a:ext>
                </a:extLst>
              </p:cNvPr>
              <p:cNvSpPr/>
              <p:nvPr/>
            </p:nvSpPr>
            <p:spPr>
              <a:xfrm>
                <a:off x="11070885" y="2563006"/>
                <a:ext cx="68506" cy="63477"/>
              </a:xfrm>
              <a:custGeom>
                <a:avLst/>
                <a:gdLst/>
                <a:ahLst/>
                <a:cxnLst/>
                <a:rect l="l" t="t" r="r" b="b"/>
                <a:pathLst>
                  <a:path w="5869" h="5437" extrusionOk="0">
                    <a:moveTo>
                      <a:pt x="0" y="1"/>
                    </a:moveTo>
                    <a:lnTo>
                      <a:pt x="0" y="62"/>
                    </a:lnTo>
                    <a:lnTo>
                      <a:pt x="186" y="495"/>
                    </a:lnTo>
                    <a:lnTo>
                      <a:pt x="371" y="989"/>
                    </a:lnTo>
                    <a:lnTo>
                      <a:pt x="556" y="1483"/>
                    </a:lnTo>
                    <a:lnTo>
                      <a:pt x="741" y="1854"/>
                    </a:lnTo>
                    <a:lnTo>
                      <a:pt x="1174" y="2224"/>
                    </a:lnTo>
                    <a:lnTo>
                      <a:pt x="1606" y="2595"/>
                    </a:lnTo>
                    <a:lnTo>
                      <a:pt x="2100" y="2966"/>
                    </a:lnTo>
                    <a:lnTo>
                      <a:pt x="2595" y="3275"/>
                    </a:lnTo>
                    <a:lnTo>
                      <a:pt x="3645" y="3830"/>
                    </a:lnTo>
                    <a:lnTo>
                      <a:pt x="4818" y="4263"/>
                    </a:lnTo>
                    <a:lnTo>
                      <a:pt x="4818" y="4263"/>
                    </a:lnTo>
                    <a:lnTo>
                      <a:pt x="5065" y="4139"/>
                    </a:lnTo>
                    <a:lnTo>
                      <a:pt x="5868" y="3583"/>
                    </a:lnTo>
                    <a:lnTo>
                      <a:pt x="4324" y="2904"/>
                    </a:lnTo>
                    <a:lnTo>
                      <a:pt x="3521" y="2472"/>
                    </a:lnTo>
                    <a:lnTo>
                      <a:pt x="2780" y="2039"/>
                    </a:lnTo>
                    <a:lnTo>
                      <a:pt x="2039" y="1607"/>
                    </a:lnTo>
                    <a:lnTo>
                      <a:pt x="1297" y="1113"/>
                    </a:lnTo>
                    <a:lnTo>
                      <a:pt x="618" y="618"/>
                    </a:lnTo>
                    <a:lnTo>
                      <a:pt x="0" y="1"/>
                    </a:lnTo>
                    <a:close/>
                    <a:moveTo>
                      <a:pt x="4818" y="4263"/>
                    </a:moveTo>
                    <a:lnTo>
                      <a:pt x="4201" y="4572"/>
                    </a:lnTo>
                    <a:lnTo>
                      <a:pt x="3336" y="5004"/>
                    </a:lnTo>
                    <a:lnTo>
                      <a:pt x="2409" y="5436"/>
                    </a:lnTo>
                    <a:lnTo>
                      <a:pt x="2409" y="5436"/>
                    </a:lnTo>
                    <a:lnTo>
                      <a:pt x="3645" y="4881"/>
                    </a:lnTo>
                    <a:lnTo>
                      <a:pt x="4818" y="4263"/>
                    </a:lnTo>
                    <a:close/>
                  </a:path>
                </a:pathLst>
              </a:custGeom>
              <a:solidFill>
                <a:srgbClr val="DCA96B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2" name="Google Shape;1310;p142">
                <a:extLst>
                  <a:ext uri="{FF2B5EF4-FFF2-40B4-BE49-F238E27FC236}">
                    <a16:creationId xmlns:a16="http://schemas.microsoft.com/office/drawing/2014/main" id="{7C11A322-B6B5-C2C9-A1F0-5EADF039ED63}"/>
                  </a:ext>
                </a:extLst>
              </p:cNvPr>
              <p:cNvSpPr/>
              <p:nvPr/>
            </p:nvSpPr>
            <p:spPr>
              <a:xfrm>
                <a:off x="11334521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3" name="Google Shape;1311;p142">
                <a:extLst>
                  <a:ext uri="{FF2B5EF4-FFF2-40B4-BE49-F238E27FC236}">
                    <a16:creationId xmlns:a16="http://schemas.microsoft.com/office/drawing/2014/main" id="{A9389392-A9EA-5D67-4C64-0C662FB7D80F}"/>
                  </a:ext>
                </a:extLst>
              </p:cNvPr>
              <p:cNvSpPr/>
              <p:nvPr/>
            </p:nvSpPr>
            <p:spPr>
              <a:xfrm>
                <a:off x="11333935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4" name="Google Shape;1312;p142">
                <a:extLst>
                  <a:ext uri="{FF2B5EF4-FFF2-40B4-BE49-F238E27FC236}">
                    <a16:creationId xmlns:a16="http://schemas.microsoft.com/office/drawing/2014/main" id="{0778216F-ECF9-5EC9-CECC-9D48511F60B3}"/>
                  </a:ext>
                </a:extLst>
              </p:cNvPr>
              <p:cNvSpPr/>
              <p:nvPr/>
            </p:nvSpPr>
            <p:spPr>
              <a:xfrm>
                <a:off x="11333935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5" name="Google Shape;1313;p142">
                <a:extLst>
                  <a:ext uri="{FF2B5EF4-FFF2-40B4-BE49-F238E27FC236}">
                    <a16:creationId xmlns:a16="http://schemas.microsoft.com/office/drawing/2014/main" id="{13CA09BE-50F4-D491-0149-A536A29A97A5}"/>
                  </a:ext>
                </a:extLst>
              </p:cNvPr>
              <p:cNvSpPr/>
              <p:nvPr/>
            </p:nvSpPr>
            <p:spPr>
              <a:xfrm>
                <a:off x="11333350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6" name="Google Shape;1314;p142">
                <a:extLst>
                  <a:ext uri="{FF2B5EF4-FFF2-40B4-BE49-F238E27FC236}">
                    <a16:creationId xmlns:a16="http://schemas.microsoft.com/office/drawing/2014/main" id="{6B5BA07F-07E2-90AC-50F1-6926836C75CE}"/>
                  </a:ext>
                </a:extLst>
              </p:cNvPr>
              <p:cNvSpPr/>
              <p:nvPr/>
            </p:nvSpPr>
            <p:spPr>
              <a:xfrm>
                <a:off x="11332773" y="2746862"/>
                <a:ext cx="586" cy="9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7" name="Google Shape;1315;p142">
                <a:extLst>
                  <a:ext uri="{FF2B5EF4-FFF2-40B4-BE49-F238E27FC236}">
                    <a16:creationId xmlns:a16="http://schemas.microsoft.com/office/drawing/2014/main" id="{FFC41708-5A35-9D22-5F52-08C1095BE9BB}"/>
                  </a:ext>
                </a:extLst>
              </p:cNvPr>
              <p:cNvSpPr/>
              <p:nvPr/>
            </p:nvSpPr>
            <p:spPr>
              <a:xfrm>
                <a:off x="11332773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8" name="Google Shape;1316;p142">
                <a:extLst>
                  <a:ext uri="{FF2B5EF4-FFF2-40B4-BE49-F238E27FC236}">
                    <a16:creationId xmlns:a16="http://schemas.microsoft.com/office/drawing/2014/main" id="{7818B29B-6DF0-4FF7-D859-937918A0CBA5}"/>
                  </a:ext>
                </a:extLst>
              </p:cNvPr>
              <p:cNvSpPr/>
              <p:nvPr/>
            </p:nvSpPr>
            <p:spPr>
              <a:xfrm>
                <a:off x="11332188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9" name="Google Shape;1317;p142">
                <a:extLst>
                  <a:ext uri="{FF2B5EF4-FFF2-40B4-BE49-F238E27FC236}">
                    <a16:creationId xmlns:a16="http://schemas.microsoft.com/office/drawing/2014/main" id="{CE9A282E-EBC1-7428-24FB-3A9527BB860F}"/>
                  </a:ext>
                </a:extLst>
              </p:cNvPr>
              <p:cNvSpPr/>
              <p:nvPr/>
            </p:nvSpPr>
            <p:spPr>
              <a:xfrm>
                <a:off x="11332188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0" name="Google Shape;1318;p142">
                <a:extLst>
                  <a:ext uri="{FF2B5EF4-FFF2-40B4-BE49-F238E27FC236}">
                    <a16:creationId xmlns:a16="http://schemas.microsoft.com/office/drawing/2014/main" id="{9BEC9FDA-8388-FC66-743B-8D07A86E0014}"/>
                  </a:ext>
                </a:extLst>
              </p:cNvPr>
              <p:cNvSpPr/>
              <p:nvPr/>
            </p:nvSpPr>
            <p:spPr>
              <a:xfrm>
                <a:off x="11332188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1" name="Google Shape;1319;p142">
                <a:extLst>
                  <a:ext uri="{FF2B5EF4-FFF2-40B4-BE49-F238E27FC236}">
                    <a16:creationId xmlns:a16="http://schemas.microsoft.com/office/drawing/2014/main" id="{F3CF5CC7-FA7C-6816-0382-B40DE31BDD83}"/>
                  </a:ext>
                </a:extLst>
              </p:cNvPr>
              <p:cNvSpPr/>
              <p:nvPr/>
            </p:nvSpPr>
            <p:spPr>
              <a:xfrm>
                <a:off x="11331602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2" name="Google Shape;1320;p142">
                <a:extLst>
                  <a:ext uri="{FF2B5EF4-FFF2-40B4-BE49-F238E27FC236}">
                    <a16:creationId xmlns:a16="http://schemas.microsoft.com/office/drawing/2014/main" id="{C377BE57-5887-1409-38E0-5FA770878D37}"/>
                  </a:ext>
                </a:extLst>
              </p:cNvPr>
              <p:cNvSpPr/>
              <p:nvPr/>
            </p:nvSpPr>
            <p:spPr>
              <a:xfrm>
                <a:off x="11331602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3" name="Google Shape;1321;p142">
                <a:extLst>
                  <a:ext uri="{FF2B5EF4-FFF2-40B4-BE49-F238E27FC236}">
                    <a16:creationId xmlns:a16="http://schemas.microsoft.com/office/drawing/2014/main" id="{E05788D1-3C2B-1124-9D6E-2D9BD2B876BD}"/>
                  </a:ext>
                </a:extLst>
              </p:cNvPr>
              <p:cNvSpPr/>
              <p:nvPr/>
            </p:nvSpPr>
            <p:spPr>
              <a:xfrm>
                <a:off x="11331016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4" name="Google Shape;1322;p142">
                <a:extLst>
                  <a:ext uri="{FF2B5EF4-FFF2-40B4-BE49-F238E27FC236}">
                    <a16:creationId xmlns:a16="http://schemas.microsoft.com/office/drawing/2014/main" id="{1D22F770-26F0-0D75-30A5-FDC01B7E24E7}"/>
                  </a:ext>
                </a:extLst>
              </p:cNvPr>
              <p:cNvSpPr/>
              <p:nvPr/>
            </p:nvSpPr>
            <p:spPr>
              <a:xfrm>
                <a:off x="11331016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5" name="Google Shape;1323;p142">
                <a:extLst>
                  <a:ext uri="{FF2B5EF4-FFF2-40B4-BE49-F238E27FC236}">
                    <a16:creationId xmlns:a16="http://schemas.microsoft.com/office/drawing/2014/main" id="{717C3392-C6DF-A805-F10A-52044FB116D5}"/>
                  </a:ext>
                </a:extLst>
              </p:cNvPr>
              <p:cNvSpPr/>
              <p:nvPr/>
            </p:nvSpPr>
            <p:spPr>
              <a:xfrm>
                <a:off x="11330440" y="2746862"/>
                <a:ext cx="586" cy="9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6" name="Google Shape;1324;p142">
                <a:extLst>
                  <a:ext uri="{FF2B5EF4-FFF2-40B4-BE49-F238E27FC236}">
                    <a16:creationId xmlns:a16="http://schemas.microsoft.com/office/drawing/2014/main" id="{8AB0D109-CF8C-01A5-C077-5BA8F8607968}"/>
                  </a:ext>
                </a:extLst>
              </p:cNvPr>
              <p:cNvSpPr/>
              <p:nvPr/>
            </p:nvSpPr>
            <p:spPr>
              <a:xfrm>
                <a:off x="11330440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7" name="Google Shape;1325;p142">
                <a:extLst>
                  <a:ext uri="{FF2B5EF4-FFF2-40B4-BE49-F238E27FC236}">
                    <a16:creationId xmlns:a16="http://schemas.microsoft.com/office/drawing/2014/main" id="{02D4F25F-EAF1-887D-8532-507F2B66F444}"/>
                  </a:ext>
                </a:extLst>
              </p:cNvPr>
              <p:cNvSpPr/>
              <p:nvPr/>
            </p:nvSpPr>
            <p:spPr>
              <a:xfrm>
                <a:off x="11329854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8" name="Google Shape;1326;p142">
                <a:extLst>
                  <a:ext uri="{FF2B5EF4-FFF2-40B4-BE49-F238E27FC236}">
                    <a16:creationId xmlns:a16="http://schemas.microsoft.com/office/drawing/2014/main" id="{8A75DB4D-7946-8844-DC15-AF875681760E}"/>
                  </a:ext>
                </a:extLst>
              </p:cNvPr>
              <p:cNvSpPr/>
              <p:nvPr/>
            </p:nvSpPr>
            <p:spPr>
              <a:xfrm>
                <a:off x="11329854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9" name="Google Shape;1327;p142">
                <a:extLst>
                  <a:ext uri="{FF2B5EF4-FFF2-40B4-BE49-F238E27FC236}">
                    <a16:creationId xmlns:a16="http://schemas.microsoft.com/office/drawing/2014/main" id="{8DA4EE95-B15C-C803-DF86-DE135A370CF8}"/>
                  </a:ext>
                </a:extLst>
              </p:cNvPr>
              <p:cNvSpPr/>
              <p:nvPr/>
            </p:nvSpPr>
            <p:spPr>
              <a:xfrm>
                <a:off x="11329268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0" name="Google Shape;1328;p142">
                <a:extLst>
                  <a:ext uri="{FF2B5EF4-FFF2-40B4-BE49-F238E27FC236}">
                    <a16:creationId xmlns:a16="http://schemas.microsoft.com/office/drawing/2014/main" id="{249F7D1E-E68D-EA20-E0FA-E049082E96CA}"/>
                  </a:ext>
                </a:extLst>
              </p:cNvPr>
              <p:cNvSpPr/>
              <p:nvPr/>
            </p:nvSpPr>
            <p:spPr>
              <a:xfrm>
                <a:off x="11329268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1" name="Google Shape;1329;p142">
                <a:extLst>
                  <a:ext uri="{FF2B5EF4-FFF2-40B4-BE49-F238E27FC236}">
                    <a16:creationId xmlns:a16="http://schemas.microsoft.com/office/drawing/2014/main" id="{DF00F54B-C6DC-D7AB-7656-6DDB0A80AEFE}"/>
                  </a:ext>
                </a:extLst>
              </p:cNvPr>
              <p:cNvSpPr/>
              <p:nvPr/>
            </p:nvSpPr>
            <p:spPr>
              <a:xfrm>
                <a:off x="11328683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63" y="1"/>
                    </a:lnTo>
                    <a:lnTo>
                      <a:pt x="63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2" name="Google Shape;1330;p142">
                <a:extLst>
                  <a:ext uri="{FF2B5EF4-FFF2-40B4-BE49-F238E27FC236}">
                    <a16:creationId xmlns:a16="http://schemas.microsoft.com/office/drawing/2014/main" id="{23889F64-2E4E-8277-9A0B-D6977A4900F3}"/>
                  </a:ext>
                </a:extLst>
              </p:cNvPr>
              <p:cNvSpPr/>
              <p:nvPr/>
            </p:nvSpPr>
            <p:spPr>
              <a:xfrm>
                <a:off x="11328683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3" name="Google Shape;1331;p142">
                <a:extLst>
                  <a:ext uri="{FF2B5EF4-FFF2-40B4-BE49-F238E27FC236}">
                    <a16:creationId xmlns:a16="http://schemas.microsoft.com/office/drawing/2014/main" id="{A85B3C8D-6F81-AA04-FDBF-877616FCD098}"/>
                  </a:ext>
                </a:extLst>
              </p:cNvPr>
              <p:cNvSpPr/>
              <p:nvPr/>
            </p:nvSpPr>
            <p:spPr>
              <a:xfrm>
                <a:off x="11328683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4" name="Google Shape;1332;p142">
                <a:extLst>
                  <a:ext uri="{FF2B5EF4-FFF2-40B4-BE49-F238E27FC236}">
                    <a16:creationId xmlns:a16="http://schemas.microsoft.com/office/drawing/2014/main" id="{EC11AB9B-3293-4DFD-8431-EAEF41C436E6}"/>
                  </a:ext>
                </a:extLst>
              </p:cNvPr>
              <p:cNvSpPr/>
              <p:nvPr/>
            </p:nvSpPr>
            <p:spPr>
              <a:xfrm>
                <a:off x="11328106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5" name="Google Shape;1333;p142">
                <a:extLst>
                  <a:ext uri="{FF2B5EF4-FFF2-40B4-BE49-F238E27FC236}">
                    <a16:creationId xmlns:a16="http://schemas.microsoft.com/office/drawing/2014/main" id="{B6B4950D-4B58-1C2E-3E04-FF2542D54233}"/>
                  </a:ext>
                </a:extLst>
              </p:cNvPr>
              <p:cNvSpPr/>
              <p:nvPr/>
            </p:nvSpPr>
            <p:spPr>
              <a:xfrm>
                <a:off x="11328106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6" name="Google Shape;1334;p142">
                <a:extLst>
                  <a:ext uri="{FF2B5EF4-FFF2-40B4-BE49-F238E27FC236}">
                    <a16:creationId xmlns:a16="http://schemas.microsoft.com/office/drawing/2014/main" id="{C519998D-18F6-752E-A084-FC2AC1F56BF1}"/>
                  </a:ext>
                </a:extLst>
              </p:cNvPr>
              <p:cNvSpPr/>
              <p:nvPr/>
            </p:nvSpPr>
            <p:spPr>
              <a:xfrm>
                <a:off x="11327521" y="2746862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7" name="Google Shape;1335;p142">
                <a:extLst>
                  <a:ext uri="{FF2B5EF4-FFF2-40B4-BE49-F238E27FC236}">
                    <a16:creationId xmlns:a16="http://schemas.microsoft.com/office/drawing/2014/main" id="{AFF1F843-8052-2C93-82C0-4AEA81FDE2FD}"/>
                  </a:ext>
                </a:extLst>
              </p:cNvPr>
              <p:cNvSpPr/>
              <p:nvPr/>
            </p:nvSpPr>
            <p:spPr>
              <a:xfrm>
                <a:off x="11327521" y="2746862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8" name="Google Shape;1336;p142">
                <a:extLst>
                  <a:ext uri="{FF2B5EF4-FFF2-40B4-BE49-F238E27FC236}">
                    <a16:creationId xmlns:a16="http://schemas.microsoft.com/office/drawing/2014/main" id="{EED38030-7D33-4619-AC50-D7BDB0139E76}"/>
                  </a:ext>
                </a:extLst>
              </p:cNvPr>
              <p:cNvSpPr/>
              <p:nvPr/>
            </p:nvSpPr>
            <p:spPr>
              <a:xfrm>
                <a:off x="11326935" y="2746286"/>
                <a:ext cx="595" cy="9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9" name="Google Shape;1337;p142">
                <a:extLst>
                  <a:ext uri="{FF2B5EF4-FFF2-40B4-BE49-F238E27FC236}">
                    <a16:creationId xmlns:a16="http://schemas.microsoft.com/office/drawing/2014/main" id="{A460EF6C-1EFC-A7E5-57C3-3A52F4F60605}"/>
                  </a:ext>
                </a:extLst>
              </p:cNvPr>
              <p:cNvSpPr/>
              <p:nvPr/>
            </p:nvSpPr>
            <p:spPr>
              <a:xfrm>
                <a:off x="11326935" y="2746286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0" name="Google Shape;1338;p142">
                <a:extLst>
                  <a:ext uri="{FF2B5EF4-FFF2-40B4-BE49-F238E27FC236}">
                    <a16:creationId xmlns:a16="http://schemas.microsoft.com/office/drawing/2014/main" id="{7F3F04D0-E0E8-1A57-7FC4-2229D8A199EF}"/>
                  </a:ext>
                </a:extLst>
              </p:cNvPr>
              <p:cNvSpPr/>
              <p:nvPr/>
            </p:nvSpPr>
            <p:spPr>
              <a:xfrm>
                <a:off x="11326349" y="2746286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1" name="Google Shape;1339;p142">
                <a:extLst>
                  <a:ext uri="{FF2B5EF4-FFF2-40B4-BE49-F238E27FC236}">
                    <a16:creationId xmlns:a16="http://schemas.microsoft.com/office/drawing/2014/main" id="{0D7168AB-458F-D153-C22D-5595A7E23E37}"/>
                  </a:ext>
                </a:extLst>
              </p:cNvPr>
              <p:cNvSpPr/>
              <p:nvPr/>
            </p:nvSpPr>
            <p:spPr>
              <a:xfrm>
                <a:off x="11326349" y="2746286"/>
                <a:ext cx="9" cy="9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2" name="Google Shape;1340;p142">
                <a:extLst>
                  <a:ext uri="{FF2B5EF4-FFF2-40B4-BE49-F238E27FC236}">
                    <a16:creationId xmlns:a16="http://schemas.microsoft.com/office/drawing/2014/main" id="{947C2430-B37E-780C-1AF8-203ED3B64000}"/>
                  </a:ext>
                </a:extLst>
              </p:cNvPr>
              <p:cNvSpPr/>
              <p:nvPr/>
            </p:nvSpPr>
            <p:spPr>
              <a:xfrm>
                <a:off x="10837332" y="2530577"/>
                <a:ext cx="289863" cy="110340"/>
              </a:xfrm>
              <a:custGeom>
                <a:avLst/>
                <a:gdLst/>
                <a:ahLst/>
                <a:cxnLst/>
                <a:rect l="l" t="t" r="r" b="b"/>
                <a:pathLst>
                  <a:path w="24833" h="9451" extrusionOk="0">
                    <a:moveTo>
                      <a:pt x="1" y="0"/>
                    </a:moveTo>
                    <a:lnTo>
                      <a:pt x="557" y="988"/>
                    </a:lnTo>
                    <a:lnTo>
                      <a:pt x="1112" y="1915"/>
                    </a:lnTo>
                    <a:lnTo>
                      <a:pt x="1792" y="2780"/>
                    </a:lnTo>
                    <a:lnTo>
                      <a:pt x="2471" y="3644"/>
                    </a:lnTo>
                    <a:lnTo>
                      <a:pt x="3274" y="4448"/>
                    </a:lnTo>
                    <a:lnTo>
                      <a:pt x="4077" y="5189"/>
                    </a:lnTo>
                    <a:lnTo>
                      <a:pt x="5004" y="5868"/>
                    </a:lnTo>
                    <a:lnTo>
                      <a:pt x="5869" y="6548"/>
                    </a:lnTo>
                    <a:lnTo>
                      <a:pt x="6857" y="7104"/>
                    </a:lnTo>
                    <a:lnTo>
                      <a:pt x="7845" y="7660"/>
                    </a:lnTo>
                    <a:lnTo>
                      <a:pt x="8896" y="8092"/>
                    </a:lnTo>
                    <a:lnTo>
                      <a:pt x="10007" y="8524"/>
                    </a:lnTo>
                    <a:lnTo>
                      <a:pt x="11119" y="8833"/>
                    </a:lnTo>
                    <a:lnTo>
                      <a:pt x="12293" y="9080"/>
                    </a:lnTo>
                    <a:lnTo>
                      <a:pt x="13467" y="9327"/>
                    </a:lnTo>
                    <a:lnTo>
                      <a:pt x="14640" y="9389"/>
                    </a:lnTo>
                    <a:lnTo>
                      <a:pt x="14887" y="9389"/>
                    </a:lnTo>
                    <a:lnTo>
                      <a:pt x="14887" y="9451"/>
                    </a:lnTo>
                    <a:lnTo>
                      <a:pt x="16061" y="9451"/>
                    </a:lnTo>
                    <a:lnTo>
                      <a:pt x="16926" y="9389"/>
                    </a:lnTo>
                    <a:lnTo>
                      <a:pt x="17729" y="9327"/>
                    </a:lnTo>
                    <a:lnTo>
                      <a:pt x="18532" y="9204"/>
                    </a:lnTo>
                    <a:lnTo>
                      <a:pt x="19335" y="9080"/>
                    </a:lnTo>
                    <a:lnTo>
                      <a:pt x="20941" y="8710"/>
                    </a:lnTo>
                    <a:lnTo>
                      <a:pt x="22423" y="8215"/>
                    </a:lnTo>
                    <a:lnTo>
                      <a:pt x="23659" y="7660"/>
                    </a:lnTo>
                    <a:lnTo>
                      <a:pt x="24832" y="7042"/>
                    </a:lnTo>
                    <a:lnTo>
                      <a:pt x="23659" y="6609"/>
                    </a:lnTo>
                    <a:lnTo>
                      <a:pt x="22609" y="6054"/>
                    </a:lnTo>
                    <a:lnTo>
                      <a:pt x="22114" y="5745"/>
                    </a:lnTo>
                    <a:lnTo>
                      <a:pt x="21620" y="5374"/>
                    </a:lnTo>
                    <a:lnTo>
                      <a:pt x="21188" y="5003"/>
                    </a:lnTo>
                    <a:lnTo>
                      <a:pt x="20755" y="4633"/>
                    </a:lnTo>
                    <a:lnTo>
                      <a:pt x="20570" y="4262"/>
                    </a:lnTo>
                    <a:lnTo>
                      <a:pt x="20385" y="3768"/>
                    </a:lnTo>
                    <a:lnTo>
                      <a:pt x="20200" y="3274"/>
                    </a:lnTo>
                    <a:lnTo>
                      <a:pt x="20014" y="2841"/>
                    </a:lnTo>
                    <a:lnTo>
                      <a:pt x="19952" y="2841"/>
                    </a:lnTo>
                    <a:lnTo>
                      <a:pt x="17976" y="3274"/>
                    </a:lnTo>
                    <a:lnTo>
                      <a:pt x="15999" y="3644"/>
                    </a:lnTo>
                    <a:lnTo>
                      <a:pt x="13961" y="3892"/>
                    </a:lnTo>
                    <a:lnTo>
                      <a:pt x="12972" y="3953"/>
                    </a:lnTo>
                    <a:lnTo>
                      <a:pt x="11922" y="3953"/>
                    </a:lnTo>
                    <a:lnTo>
                      <a:pt x="10316" y="3892"/>
                    </a:lnTo>
                    <a:lnTo>
                      <a:pt x="8648" y="3768"/>
                    </a:lnTo>
                    <a:lnTo>
                      <a:pt x="7042" y="3459"/>
                    </a:lnTo>
                    <a:lnTo>
                      <a:pt x="5498" y="3027"/>
                    </a:lnTo>
                    <a:lnTo>
                      <a:pt x="4757" y="2780"/>
                    </a:lnTo>
                    <a:lnTo>
                      <a:pt x="4016" y="2471"/>
                    </a:lnTo>
                    <a:lnTo>
                      <a:pt x="3274" y="2162"/>
                    </a:lnTo>
                    <a:lnTo>
                      <a:pt x="2595" y="1791"/>
                    </a:lnTo>
                    <a:lnTo>
                      <a:pt x="1915" y="1421"/>
                    </a:lnTo>
                    <a:lnTo>
                      <a:pt x="1236" y="988"/>
                    </a:lnTo>
                    <a:lnTo>
                      <a:pt x="618" y="49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CA96B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3" name="Google Shape;1341;p142">
                <a:extLst>
                  <a:ext uri="{FF2B5EF4-FFF2-40B4-BE49-F238E27FC236}">
                    <a16:creationId xmlns:a16="http://schemas.microsoft.com/office/drawing/2014/main" id="{4F90B09D-C5F7-46EC-EB93-F644CB90FCED}"/>
                  </a:ext>
                </a:extLst>
              </p:cNvPr>
              <p:cNvSpPr/>
              <p:nvPr/>
            </p:nvSpPr>
            <p:spPr>
              <a:xfrm>
                <a:off x="10837332" y="2530577"/>
                <a:ext cx="289863" cy="110340"/>
              </a:xfrm>
              <a:custGeom>
                <a:avLst/>
                <a:gdLst/>
                <a:ahLst/>
                <a:cxnLst/>
                <a:rect l="l" t="t" r="r" b="b"/>
                <a:pathLst>
                  <a:path w="24833" h="945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557" y="988"/>
                    </a:lnTo>
                    <a:lnTo>
                      <a:pt x="1112" y="1915"/>
                    </a:lnTo>
                    <a:lnTo>
                      <a:pt x="1792" y="2780"/>
                    </a:lnTo>
                    <a:lnTo>
                      <a:pt x="2471" y="3644"/>
                    </a:lnTo>
                    <a:lnTo>
                      <a:pt x="3274" y="4448"/>
                    </a:lnTo>
                    <a:lnTo>
                      <a:pt x="4077" y="5189"/>
                    </a:lnTo>
                    <a:lnTo>
                      <a:pt x="5004" y="5868"/>
                    </a:lnTo>
                    <a:lnTo>
                      <a:pt x="5869" y="6548"/>
                    </a:lnTo>
                    <a:lnTo>
                      <a:pt x="6857" y="7104"/>
                    </a:lnTo>
                    <a:lnTo>
                      <a:pt x="7845" y="7660"/>
                    </a:lnTo>
                    <a:lnTo>
                      <a:pt x="8896" y="8092"/>
                    </a:lnTo>
                    <a:lnTo>
                      <a:pt x="10007" y="8524"/>
                    </a:lnTo>
                    <a:lnTo>
                      <a:pt x="11119" y="8833"/>
                    </a:lnTo>
                    <a:lnTo>
                      <a:pt x="12293" y="9080"/>
                    </a:lnTo>
                    <a:lnTo>
                      <a:pt x="13467" y="9327"/>
                    </a:lnTo>
                    <a:lnTo>
                      <a:pt x="14640" y="9389"/>
                    </a:lnTo>
                    <a:lnTo>
                      <a:pt x="14640" y="9389"/>
                    </a:lnTo>
                    <a:lnTo>
                      <a:pt x="14640" y="9389"/>
                    </a:lnTo>
                    <a:lnTo>
                      <a:pt x="14702" y="9389"/>
                    </a:lnTo>
                    <a:lnTo>
                      <a:pt x="14702" y="9389"/>
                    </a:lnTo>
                    <a:lnTo>
                      <a:pt x="14702" y="9389"/>
                    </a:lnTo>
                    <a:lnTo>
                      <a:pt x="14702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764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25" y="9389"/>
                    </a:lnTo>
                    <a:lnTo>
                      <a:pt x="14887" y="9389"/>
                    </a:lnTo>
                    <a:lnTo>
                      <a:pt x="14887" y="9389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887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4949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11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073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34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196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258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20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381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443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05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567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28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690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752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14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876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37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5999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061" y="9451"/>
                    </a:lnTo>
                    <a:lnTo>
                      <a:pt x="16926" y="9389"/>
                    </a:lnTo>
                    <a:lnTo>
                      <a:pt x="17729" y="9327"/>
                    </a:lnTo>
                    <a:lnTo>
                      <a:pt x="18532" y="9204"/>
                    </a:lnTo>
                    <a:lnTo>
                      <a:pt x="19335" y="9080"/>
                    </a:lnTo>
                    <a:lnTo>
                      <a:pt x="20941" y="8710"/>
                    </a:lnTo>
                    <a:lnTo>
                      <a:pt x="22423" y="8215"/>
                    </a:lnTo>
                    <a:lnTo>
                      <a:pt x="22423" y="8215"/>
                    </a:lnTo>
                    <a:lnTo>
                      <a:pt x="23659" y="7660"/>
                    </a:lnTo>
                    <a:lnTo>
                      <a:pt x="24832" y="7042"/>
                    </a:lnTo>
                    <a:lnTo>
                      <a:pt x="24832" y="7042"/>
                    </a:lnTo>
                    <a:lnTo>
                      <a:pt x="23659" y="6609"/>
                    </a:lnTo>
                    <a:lnTo>
                      <a:pt x="22609" y="6054"/>
                    </a:lnTo>
                    <a:lnTo>
                      <a:pt x="22114" y="5745"/>
                    </a:lnTo>
                    <a:lnTo>
                      <a:pt x="21620" y="5374"/>
                    </a:lnTo>
                    <a:lnTo>
                      <a:pt x="21188" y="5003"/>
                    </a:lnTo>
                    <a:lnTo>
                      <a:pt x="20755" y="4633"/>
                    </a:lnTo>
                    <a:lnTo>
                      <a:pt x="20755" y="4633"/>
                    </a:lnTo>
                    <a:lnTo>
                      <a:pt x="20570" y="4262"/>
                    </a:lnTo>
                    <a:lnTo>
                      <a:pt x="20385" y="3768"/>
                    </a:lnTo>
                    <a:lnTo>
                      <a:pt x="20200" y="3274"/>
                    </a:lnTo>
                    <a:lnTo>
                      <a:pt x="20014" y="2841"/>
                    </a:lnTo>
                    <a:lnTo>
                      <a:pt x="20014" y="2841"/>
                    </a:lnTo>
                    <a:lnTo>
                      <a:pt x="19952" y="2841"/>
                    </a:lnTo>
                    <a:lnTo>
                      <a:pt x="19952" y="2841"/>
                    </a:lnTo>
                    <a:lnTo>
                      <a:pt x="17976" y="3274"/>
                    </a:lnTo>
                    <a:lnTo>
                      <a:pt x="15999" y="3644"/>
                    </a:lnTo>
                    <a:lnTo>
                      <a:pt x="13961" y="3892"/>
                    </a:lnTo>
                    <a:lnTo>
                      <a:pt x="12972" y="3953"/>
                    </a:lnTo>
                    <a:lnTo>
                      <a:pt x="11922" y="3953"/>
                    </a:lnTo>
                    <a:lnTo>
                      <a:pt x="11922" y="3953"/>
                    </a:lnTo>
                    <a:lnTo>
                      <a:pt x="10316" y="3892"/>
                    </a:lnTo>
                    <a:lnTo>
                      <a:pt x="8648" y="3768"/>
                    </a:lnTo>
                    <a:lnTo>
                      <a:pt x="7042" y="3459"/>
                    </a:lnTo>
                    <a:lnTo>
                      <a:pt x="5498" y="3027"/>
                    </a:lnTo>
                    <a:lnTo>
                      <a:pt x="4757" y="2780"/>
                    </a:lnTo>
                    <a:lnTo>
                      <a:pt x="4016" y="2471"/>
                    </a:lnTo>
                    <a:lnTo>
                      <a:pt x="3274" y="2162"/>
                    </a:lnTo>
                    <a:lnTo>
                      <a:pt x="2595" y="1791"/>
                    </a:lnTo>
                    <a:lnTo>
                      <a:pt x="1915" y="1421"/>
                    </a:lnTo>
                    <a:lnTo>
                      <a:pt x="1236" y="988"/>
                    </a:lnTo>
                    <a:lnTo>
                      <a:pt x="618" y="494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DCA96B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4" name="Google Shape;1342;p142">
                <a:extLst>
                  <a:ext uri="{FF2B5EF4-FFF2-40B4-BE49-F238E27FC236}">
                    <a16:creationId xmlns:a16="http://schemas.microsoft.com/office/drawing/2014/main" id="{6FCC9E8E-C93F-36E5-68AE-0C42A7B5EFC7}"/>
                  </a:ext>
                </a:extLst>
              </p:cNvPr>
              <p:cNvSpPr/>
              <p:nvPr/>
            </p:nvSpPr>
            <p:spPr>
              <a:xfrm>
                <a:off x="11383721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5" name="Google Shape;1343;p142">
                <a:extLst>
                  <a:ext uri="{FF2B5EF4-FFF2-40B4-BE49-F238E27FC236}">
                    <a16:creationId xmlns:a16="http://schemas.microsoft.com/office/drawing/2014/main" id="{7E3CF947-B4B0-6E50-CFDD-CE8AD51FDA7B}"/>
                  </a:ext>
                </a:extLst>
              </p:cNvPr>
              <p:cNvSpPr/>
              <p:nvPr/>
            </p:nvSpPr>
            <p:spPr>
              <a:xfrm>
                <a:off x="11383721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6" name="Google Shape;1344;p142">
                <a:extLst>
                  <a:ext uri="{FF2B5EF4-FFF2-40B4-BE49-F238E27FC236}">
                    <a16:creationId xmlns:a16="http://schemas.microsoft.com/office/drawing/2014/main" id="{6E9ABC00-A3D5-EE7E-361B-505312B44C0B}"/>
                  </a:ext>
                </a:extLst>
              </p:cNvPr>
              <p:cNvSpPr/>
              <p:nvPr/>
            </p:nvSpPr>
            <p:spPr>
              <a:xfrm>
                <a:off x="11383721" y="2748979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7" name="Google Shape;1345;p142">
                <a:extLst>
                  <a:ext uri="{FF2B5EF4-FFF2-40B4-BE49-F238E27FC236}">
                    <a16:creationId xmlns:a16="http://schemas.microsoft.com/office/drawing/2014/main" id="{35F0A01B-B726-2524-9012-626C6DFCCC16}"/>
                  </a:ext>
                </a:extLst>
              </p:cNvPr>
              <p:cNvSpPr/>
              <p:nvPr/>
            </p:nvSpPr>
            <p:spPr>
              <a:xfrm>
                <a:off x="11383721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8" name="Google Shape;1346;p142">
                <a:extLst>
                  <a:ext uri="{FF2B5EF4-FFF2-40B4-BE49-F238E27FC236}">
                    <a16:creationId xmlns:a16="http://schemas.microsoft.com/office/drawing/2014/main" id="{FAB76013-EACD-3804-2BF4-D51CB4C7F3C5}"/>
                  </a:ext>
                </a:extLst>
              </p:cNvPr>
              <p:cNvSpPr/>
              <p:nvPr/>
            </p:nvSpPr>
            <p:spPr>
              <a:xfrm>
                <a:off x="11382998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9" name="Google Shape;1347;p142">
                <a:extLst>
                  <a:ext uri="{FF2B5EF4-FFF2-40B4-BE49-F238E27FC236}">
                    <a16:creationId xmlns:a16="http://schemas.microsoft.com/office/drawing/2014/main" id="{632D6869-6BB9-5496-5350-6E07DB347303}"/>
                  </a:ext>
                </a:extLst>
              </p:cNvPr>
              <p:cNvSpPr/>
              <p:nvPr/>
            </p:nvSpPr>
            <p:spPr>
              <a:xfrm>
                <a:off x="11382998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0" name="Google Shape;1348;p142">
                <a:extLst>
                  <a:ext uri="{FF2B5EF4-FFF2-40B4-BE49-F238E27FC236}">
                    <a16:creationId xmlns:a16="http://schemas.microsoft.com/office/drawing/2014/main" id="{3A08BE9C-6FAB-E346-DB86-98437EDEC916}"/>
                  </a:ext>
                </a:extLst>
              </p:cNvPr>
              <p:cNvSpPr/>
              <p:nvPr/>
            </p:nvSpPr>
            <p:spPr>
              <a:xfrm>
                <a:off x="11382998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1" name="Google Shape;1349;p142">
                <a:extLst>
                  <a:ext uri="{FF2B5EF4-FFF2-40B4-BE49-F238E27FC236}">
                    <a16:creationId xmlns:a16="http://schemas.microsoft.com/office/drawing/2014/main" id="{40E9C705-1C2F-A210-5B0E-2EC43C7AFD63}"/>
                  </a:ext>
                </a:extLst>
              </p:cNvPr>
              <p:cNvSpPr/>
              <p:nvPr/>
            </p:nvSpPr>
            <p:spPr>
              <a:xfrm>
                <a:off x="11382286" y="2748979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2" name="Google Shape;1350;p142">
                <a:extLst>
                  <a:ext uri="{FF2B5EF4-FFF2-40B4-BE49-F238E27FC236}">
                    <a16:creationId xmlns:a16="http://schemas.microsoft.com/office/drawing/2014/main" id="{799C1AC0-E822-4013-035A-91C5A4BCAE0D}"/>
                  </a:ext>
                </a:extLst>
              </p:cNvPr>
              <p:cNvSpPr/>
              <p:nvPr/>
            </p:nvSpPr>
            <p:spPr>
              <a:xfrm>
                <a:off x="1138228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3" name="Google Shape;1351;p142">
                <a:extLst>
                  <a:ext uri="{FF2B5EF4-FFF2-40B4-BE49-F238E27FC236}">
                    <a16:creationId xmlns:a16="http://schemas.microsoft.com/office/drawing/2014/main" id="{C77C44AE-F969-4821-6A39-02C1E60FD0A9}"/>
                  </a:ext>
                </a:extLst>
              </p:cNvPr>
              <p:cNvSpPr/>
              <p:nvPr/>
            </p:nvSpPr>
            <p:spPr>
              <a:xfrm>
                <a:off x="1138228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4" name="Google Shape;1352;p142">
                <a:extLst>
                  <a:ext uri="{FF2B5EF4-FFF2-40B4-BE49-F238E27FC236}">
                    <a16:creationId xmlns:a16="http://schemas.microsoft.com/office/drawing/2014/main" id="{E88D7BE6-866F-B8D4-3AC9-449E444C4FC5}"/>
                  </a:ext>
                </a:extLst>
              </p:cNvPr>
              <p:cNvSpPr/>
              <p:nvPr/>
            </p:nvSpPr>
            <p:spPr>
              <a:xfrm>
                <a:off x="11381563" y="2748979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5" name="Google Shape;1353;p142">
                <a:extLst>
                  <a:ext uri="{FF2B5EF4-FFF2-40B4-BE49-F238E27FC236}">
                    <a16:creationId xmlns:a16="http://schemas.microsoft.com/office/drawing/2014/main" id="{CCBDB4BB-B07D-5E3C-5B8E-6BAA7540B473}"/>
                  </a:ext>
                </a:extLst>
              </p:cNvPr>
              <p:cNvSpPr/>
              <p:nvPr/>
            </p:nvSpPr>
            <p:spPr>
              <a:xfrm>
                <a:off x="11381563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6" name="Google Shape;1354;p142">
                <a:extLst>
                  <a:ext uri="{FF2B5EF4-FFF2-40B4-BE49-F238E27FC236}">
                    <a16:creationId xmlns:a16="http://schemas.microsoft.com/office/drawing/2014/main" id="{C35BA3E7-79FB-B9F9-C05B-9B3454D3006C}"/>
                  </a:ext>
                </a:extLst>
              </p:cNvPr>
              <p:cNvSpPr/>
              <p:nvPr/>
            </p:nvSpPr>
            <p:spPr>
              <a:xfrm>
                <a:off x="11381563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7" name="Google Shape;1355;p142">
                <a:extLst>
                  <a:ext uri="{FF2B5EF4-FFF2-40B4-BE49-F238E27FC236}">
                    <a16:creationId xmlns:a16="http://schemas.microsoft.com/office/drawing/2014/main" id="{A100B5BB-01A7-D497-AD26-66BBB550EADD}"/>
                  </a:ext>
                </a:extLst>
              </p:cNvPr>
              <p:cNvSpPr/>
              <p:nvPr/>
            </p:nvSpPr>
            <p:spPr>
              <a:xfrm>
                <a:off x="11381563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8" name="Google Shape;1356;p142">
                <a:extLst>
                  <a:ext uri="{FF2B5EF4-FFF2-40B4-BE49-F238E27FC236}">
                    <a16:creationId xmlns:a16="http://schemas.microsoft.com/office/drawing/2014/main" id="{ECF6E2DF-1B11-D2F6-E433-A9BC3DF7BDDB}"/>
                  </a:ext>
                </a:extLst>
              </p:cNvPr>
              <p:cNvSpPr/>
              <p:nvPr/>
            </p:nvSpPr>
            <p:spPr>
              <a:xfrm>
                <a:off x="11380839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9" name="Google Shape;1357;p142">
                <a:extLst>
                  <a:ext uri="{FF2B5EF4-FFF2-40B4-BE49-F238E27FC236}">
                    <a16:creationId xmlns:a16="http://schemas.microsoft.com/office/drawing/2014/main" id="{960A1E87-AB03-E41F-C384-1329EAA8736E}"/>
                  </a:ext>
                </a:extLst>
              </p:cNvPr>
              <p:cNvSpPr/>
              <p:nvPr/>
            </p:nvSpPr>
            <p:spPr>
              <a:xfrm>
                <a:off x="11380839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0" name="Google Shape;1358;p142">
                <a:extLst>
                  <a:ext uri="{FF2B5EF4-FFF2-40B4-BE49-F238E27FC236}">
                    <a16:creationId xmlns:a16="http://schemas.microsoft.com/office/drawing/2014/main" id="{2CEDF9FB-EA42-7891-7322-E944EA11BE0D}"/>
                  </a:ext>
                </a:extLst>
              </p:cNvPr>
              <p:cNvSpPr/>
              <p:nvPr/>
            </p:nvSpPr>
            <p:spPr>
              <a:xfrm>
                <a:off x="11380839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1" name="Google Shape;1359;p142">
                <a:extLst>
                  <a:ext uri="{FF2B5EF4-FFF2-40B4-BE49-F238E27FC236}">
                    <a16:creationId xmlns:a16="http://schemas.microsoft.com/office/drawing/2014/main" id="{8DDFAE75-F4AE-9248-366F-5405DED194D6}"/>
                  </a:ext>
                </a:extLst>
              </p:cNvPr>
              <p:cNvSpPr/>
              <p:nvPr/>
            </p:nvSpPr>
            <p:spPr>
              <a:xfrm>
                <a:off x="1138011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2" name="Google Shape;1360;p142">
                <a:extLst>
                  <a:ext uri="{FF2B5EF4-FFF2-40B4-BE49-F238E27FC236}">
                    <a16:creationId xmlns:a16="http://schemas.microsoft.com/office/drawing/2014/main" id="{D4980129-D153-6F13-D420-A85E807643FA}"/>
                  </a:ext>
                </a:extLst>
              </p:cNvPr>
              <p:cNvSpPr/>
              <p:nvPr/>
            </p:nvSpPr>
            <p:spPr>
              <a:xfrm>
                <a:off x="1138011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3" name="Google Shape;1361;p142">
                <a:extLst>
                  <a:ext uri="{FF2B5EF4-FFF2-40B4-BE49-F238E27FC236}">
                    <a16:creationId xmlns:a16="http://schemas.microsoft.com/office/drawing/2014/main" id="{A373B98D-F103-4D42-A39C-8D6128BA43A1}"/>
                  </a:ext>
                </a:extLst>
              </p:cNvPr>
              <p:cNvSpPr/>
              <p:nvPr/>
            </p:nvSpPr>
            <p:spPr>
              <a:xfrm>
                <a:off x="11380116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4" name="Google Shape;1362;p142">
                <a:extLst>
                  <a:ext uri="{FF2B5EF4-FFF2-40B4-BE49-F238E27FC236}">
                    <a16:creationId xmlns:a16="http://schemas.microsoft.com/office/drawing/2014/main" id="{646CBB1C-D30B-13CA-101F-BDF77872DAAD}"/>
                  </a:ext>
                </a:extLst>
              </p:cNvPr>
              <p:cNvSpPr/>
              <p:nvPr/>
            </p:nvSpPr>
            <p:spPr>
              <a:xfrm>
                <a:off x="11379392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0" name="Google Shape;1363;p142">
              <a:extLst>
                <a:ext uri="{FF2B5EF4-FFF2-40B4-BE49-F238E27FC236}">
                  <a16:creationId xmlns:a16="http://schemas.microsoft.com/office/drawing/2014/main" id="{0A4AEDB7-309B-D342-B620-A3BE0A334E9A}"/>
                </a:ext>
              </a:extLst>
            </p:cNvPr>
            <p:cNvGrpSpPr/>
            <p:nvPr/>
          </p:nvGrpSpPr>
          <p:grpSpPr>
            <a:xfrm>
              <a:off x="1622550" y="5634587"/>
              <a:ext cx="1076156" cy="1468634"/>
              <a:chOff x="11615655" y="2241529"/>
              <a:chExt cx="642443" cy="876639"/>
            </a:xfrm>
          </p:grpSpPr>
          <p:sp>
            <p:nvSpPr>
              <p:cNvPr id="58" name="Google Shape;1364;p142">
                <a:extLst>
                  <a:ext uri="{FF2B5EF4-FFF2-40B4-BE49-F238E27FC236}">
                    <a16:creationId xmlns:a16="http://schemas.microsoft.com/office/drawing/2014/main" id="{47EC49B2-6A43-0A79-BF68-0D539AD04FED}"/>
                  </a:ext>
                </a:extLst>
              </p:cNvPr>
              <p:cNvSpPr/>
              <p:nvPr/>
            </p:nvSpPr>
            <p:spPr>
              <a:xfrm>
                <a:off x="11875162" y="2862871"/>
                <a:ext cx="90135" cy="255297"/>
              </a:xfrm>
              <a:custGeom>
                <a:avLst/>
                <a:gdLst/>
                <a:ahLst/>
                <a:cxnLst/>
                <a:rect l="l" t="t" r="r" b="b"/>
                <a:pathLst>
                  <a:path w="7722" h="21867" extrusionOk="0">
                    <a:moveTo>
                      <a:pt x="989" y="0"/>
                    </a:moveTo>
                    <a:lnTo>
                      <a:pt x="0" y="21867"/>
                    </a:lnTo>
                    <a:lnTo>
                      <a:pt x="7722" y="21867"/>
                    </a:lnTo>
                    <a:lnTo>
                      <a:pt x="6733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1365;p142">
                <a:extLst>
                  <a:ext uri="{FF2B5EF4-FFF2-40B4-BE49-F238E27FC236}">
                    <a16:creationId xmlns:a16="http://schemas.microsoft.com/office/drawing/2014/main" id="{DE12E7E9-1301-3E95-41FF-8D1C92FF121E}"/>
                  </a:ext>
                </a:extLst>
              </p:cNvPr>
              <p:cNvSpPr/>
              <p:nvPr/>
            </p:nvSpPr>
            <p:spPr>
              <a:xfrm>
                <a:off x="11924897" y="2766997"/>
                <a:ext cx="95189" cy="95933"/>
              </a:xfrm>
              <a:custGeom>
                <a:avLst/>
                <a:gdLst/>
                <a:ahLst/>
                <a:cxnLst/>
                <a:rect l="l" t="t" r="r" b="b"/>
                <a:pathLst>
                  <a:path w="8155" h="8217" extrusionOk="0">
                    <a:moveTo>
                      <a:pt x="8154" y="1"/>
                    </a:moveTo>
                    <a:lnTo>
                      <a:pt x="7598" y="124"/>
                    </a:lnTo>
                    <a:lnTo>
                      <a:pt x="7042" y="248"/>
                    </a:lnTo>
                    <a:lnTo>
                      <a:pt x="6548" y="433"/>
                    </a:lnTo>
                    <a:lnTo>
                      <a:pt x="6054" y="618"/>
                    </a:lnTo>
                    <a:lnTo>
                      <a:pt x="5189" y="1112"/>
                    </a:lnTo>
                    <a:lnTo>
                      <a:pt x="4324" y="1668"/>
                    </a:lnTo>
                    <a:lnTo>
                      <a:pt x="3583" y="2286"/>
                    </a:lnTo>
                    <a:lnTo>
                      <a:pt x="2904" y="2966"/>
                    </a:lnTo>
                    <a:lnTo>
                      <a:pt x="2348" y="3707"/>
                    </a:lnTo>
                    <a:lnTo>
                      <a:pt x="1792" y="4448"/>
                    </a:lnTo>
                    <a:lnTo>
                      <a:pt x="1359" y="5128"/>
                    </a:lnTo>
                    <a:lnTo>
                      <a:pt x="989" y="5869"/>
                    </a:lnTo>
                    <a:lnTo>
                      <a:pt x="433" y="7042"/>
                    </a:lnTo>
                    <a:lnTo>
                      <a:pt x="124" y="7907"/>
                    </a:lnTo>
                    <a:lnTo>
                      <a:pt x="0" y="8216"/>
                    </a:lnTo>
                    <a:lnTo>
                      <a:pt x="2471" y="8216"/>
                    </a:lnTo>
                    <a:lnTo>
                      <a:pt x="2533" y="7351"/>
                    </a:lnTo>
                    <a:lnTo>
                      <a:pt x="2718" y="6486"/>
                    </a:lnTo>
                    <a:lnTo>
                      <a:pt x="3027" y="5683"/>
                    </a:lnTo>
                    <a:lnTo>
                      <a:pt x="3398" y="4880"/>
                    </a:lnTo>
                    <a:lnTo>
                      <a:pt x="3830" y="4139"/>
                    </a:lnTo>
                    <a:lnTo>
                      <a:pt x="4263" y="3522"/>
                    </a:lnTo>
                    <a:lnTo>
                      <a:pt x="4819" y="2842"/>
                    </a:lnTo>
                    <a:lnTo>
                      <a:pt x="5313" y="2286"/>
                    </a:lnTo>
                    <a:lnTo>
                      <a:pt x="6363" y="1360"/>
                    </a:lnTo>
                    <a:lnTo>
                      <a:pt x="7289" y="618"/>
                    </a:lnTo>
                    <a:lnTo>
                      <a:pt x="7907" y="186"/>
                    </a:lnTo>
                    <a:lnTo>
                      <a:pt x="8154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1366;p142">
                <a:extLst>
                  <a:ext uri="{FF2B5EF4-FFF2-40B4-BE49-F238E27FC236}">
                    <a16:creationId xmlns:a16="http://schemas.microsoft.com/office/drawing/2014/main" id="{98EC56F4-344A-654B-2ED0-583342B26C12}"/>
                  </a:ext>
                </a:extLst>
              </p:cNvPr>
              <p:cNvSpPr/>
              <p:nvPr/>
            </p:nvSpPr>
            <p:spPr>
              <a:xfrm>
                <a:off x="11924897" y="2766997"/>
                <a:ext cx="95189" cy="95933"/>
              </a:xfrm>
              <a:custGeom>
                <a:avLst/>
                <a:gdLst/>
                <a:ahLst/>
                <a:cxnLst/>
                <a:rect l="l" t="t" r="r" b="b"/>
                <a:pathLst>
                  <a:path w="8155" h="8217" fill="none" extrusionOk="0">
                    <a:moveTo>
                      <a:pt x="0" y="8216"/>
                    </a:moveTo>
                    <a:lnTo>
                      <a:pt x="2471" y="8216"/>
                    </a:lnTo>
                    <a:lnTo>
                      <a:pt x="2471" y="8216"/>
                    </a:lnTo>
                    <a:lnTo>
                      <a:pt x="2533" y="7351"/>
                    </a:lnTo>
                    <a:lnTo>
                      <a:pt x="2718" y="6486"/>
                    </a:lnTo>
                    <a:lnTo>
                      <a:pt x="3027" y="5683"/>
                    </a:lnTo>
                    <a:lnTo>
                      <a:pt x="3398" y="4880"/>
                    </a:lnTo>
                    <a:lnTo>
                      <a:pt x="3830" y="4139"/>
                    </a:lnTo>
                    <a:lnTo>
                      <a:pt x="4263" y="3522"/>
                    </a:lnTo>
                    <a:lnTo>
                      <a:pt x="4819" y="2842"/>
                    </a:lnTo>
                    <a:lnTo>
                      <a:pt x="5313" y="2286"/>
                    </a:lnTo>
                    <a:lnTo>
                      <a:pt x="6363" y="1360"/>
                    </a:lnTo>
                    <a:lnTo>
                      <a:pt x="7289" y="618"/>
                    </a:lnTo>
                    <a:lnTo>
                      <a:pt x="7907" y="186"/>
                    </a:lnTo>
                    <a:lnTo>
                      <a:pt x="8154" y="1"/>
                    </a:lnTo>
                    <a:lnTo>
                      <a:pt x="8154" y="1"/>
                    </a:lnTo>
                    <a:lnTo>
                      <a:pt x="7598" y="124"/>
                    </a:lnTo>
                    <a:lnTo>
                      <a:pt x="7042" y="248"/>
                    </a:lnTo>
                    <a:lnTo>
                      <a:pt x="6548" y="433"/>
                    </a:lnTo>
                    <a:lnTo>
                      <a:pt x="6054" y="618"/>
                    </a:lnTo>
                    <a:lnTo>
                      <a:pt x="5189" y="1112"/>
                    </a:lnTo>
                    <a:lnTo>
                      <a:pt x="4324" y="1668"/>
                    </a:lnTo>
                    <a:lnTo>
                      <a:pt x="3583" y="2286"/>
                    </a:lnTo>
                    <a:lnTo>
                      <a:pt x="2904" y="2966"/>
                    </a:lnTo>
                    <a:lnTo>
                      <a:pt x="2348" y="3707"/>
                    </a:lnTo>
                    <a:lnTo>
                      <a:pt x="1792" y="4448"/>
                    </a:lnTo>
                    <a:lnTo>
                      <a:pt x="1359" y="5128"/>
                    </a:lnTo>
                    <a:lnTo>
                      <a:pt x="989" y="5869"/>
                    </a:lnTo>
                    <a:lnTo>
                      <a:pt x="433" y="7042"/>
                    </a:lnTo>
                    <a:lnTo>
                      <a:pt x="124" y="7907"/>
                    </a:lnTo>
                    <a:lnTo>
                      <a:pt x="0" y="8216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1367;p142">
                <a:extLst>
                  <a:ext uri="{FF2B5EF4-FFF2-40B4-BE49-F238E27FC236}">
                    <a16:creationId xmlns:a16="http://schemas.microsoft.com/office/drawing/2014/main" id="{823B0AFD-4103-BA0E-B2F6-C4D9F3B7C254}"/>
                  </a:ext>
                </a:extLst>
              </p:cNvPr>
              <p:cNvSpPr/>
              <p:nvPr/>
            </p:nvSpPr>
            <p:spPr>
              <a:xfrm>
                <a:off x="11896062" y="2772761"/>
                <a:ext cx="42558" cy="93050"/>
              </a:xfrm>
              <a:custGeom>
                <a:avLst/>
                <a:gdLst/>
                <a:ahLst/>
                <a:cxnLst/>
                <a:rect l="l" t="t" r="r" b="b"/>
                <a:pathLst>
                  <a:path w="3646" h="7970" extrusionOk="0">
                    <a:moveTo>
                      <a:pt x="3645" y="1"/>
                    </a:moveTo>
                    <a:lnTo>
                      <a:pt x="3213" y="124"/>
                    </a:lnTo>
                    <a:lnTo>
                      <a:pt x="2719" y="310"/>
                    </a:lnTo>
                    <a:lnTo>
                      <a:pt x="2163" y="618"/>
                    </a:lnTo>
                    <a:lnTo>
                      <a:pt x="1545" y="1113"/>
                    </a:lnTo>
                    <a:lnTo>
                      <a:pt x="1236" y="1421"/>
                    </a:lnTo>
                    <a:lnTo>
                      <a:pt x="927" y="1792"/>
                    </a:lnTo>
                    <a:lnTo>
                      <a:pt x="618" y="2163"/>
                    </a:lnTo>
                    <a:lnTo>
                      <a:pt x="371" y="2657"/>
                    </a:lnTo>
                    <a:lnTo>
                      <a:pt x="186" y="3213"/>
                    </a:lnTo>
                    <a:lnTo>
                      <a:pt x="1" y="3831"/>
                    </a:lnTo>
                    <a:lnTo>
                      <a:pt x="557" y="7969"/>
                    </a:lnTo>
                    <a:lnTo>
                      <a:pt x="1977" y="6548"/>
                    </a:lnTo>
                    <a:lnTo>
                      <a:pt x="1792" y="5807"/>
                    </a:lnTo>
                    <a:lnTo>
                      <a:pt x="1668" y="5004"/>
                    </a:lnTo>
                    <a:lnTo>
                      <a:pt x="1668" y="4016"/>
                    </a:lnTo>
                    <a:lnTo>
                      <a:pt x="1668" y="3460"/>
                    </a:lnTo>
                    <a:lnTo>
                      <a:pt x="1730" y="2904"/>
                    </a:lnTo>
                    <a:lnTo>
                      <a:pt x="1916" y="2410"/>
                    </a:lnTo>
                    <a:lnTo>
                      <a:pt x="2101" y="1854"/>
                    </a:lnTo>
                    <a:lnTo>
                      <a:pt x="2348" y="1298"/>
                    </a:lnTo>
                    <a:lnTo>
                      <a:pt x="2719" y="866"/>
                    </a:lnTo>
                    <a:lnTo>
                      <a:pt x="3151" y="371"/>
                    </a:lnTo>
                    <a:lnTo>
                      <a:pt x="3645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1368;p142">
                <a:extLst>
                  <a:ext uri="{FF2B5EF4-FFF2-40B4-BE49-F238E27FC236}">
                    <a16:creationId xmlns:a16="http://schemas.microsoft.com/office/drawing/2014/main" id="{46BEA39B-B5F4-663B-C02C-6E39301C7E53}"/>
                  </a:ext>
                </a:extLst>
              </p:cNvPr>
              <p:cNvSpPr/>
              <p:nvPr/>
            </p:nvSpPr>
            <p:spPr>
              <a:xfrm>
                <a:off x="11896062" y="2772761"/>
                <a:ext cx="42558" cy="93050"/>
              </a:xfrm>
              <a:custGeom>
                <a:avLst/>
                <a:gdLst/>
                <a:ahLst/>
                <a:cxnLst/>
                <a:rect l="l" t="t" r="r" b="b"/>
                <a:pathLst>
                  <a:path w="3646" h="7970" fill="none" extrusionOk="0">
                    <a:moveTo>
                      <a:pt x="1" y="3831"/>
                    </a:moveTo>
                    <a:lnTo>
                      <a:pt x="557" y="7969"/>
                    </a:lnTo>
                    <a:lnTo>
                      <a:pt x="1977" y="6548"/>
                    </a:lnTo>
                    <a:lnTo>
                      <a:pt x="1977" y="6548"/>
                    </a:lnTo>
                    <a:lnTo>
                      <a:pt x="1792" y="5807"/>
                    </a:lnTo>
                    <a:lnTo>
                      <a:pt x="1668" y="5004"/>
                    </a:lnTo>
                    <a:lnTo>
                      <a:pt x="1668" y="4016"/>
                    </a:lnTo>
                    <a:lnTo>
                      <a:pt x="1668" y="3460"/>
                    </a:lnTo>
                    <a:lnTo>
                      <a:pt x="1730" y="2904"/>
                    </a:lnTo>
                    <a:lnTo>
                      <a:pt x="1916" y="2410"/>
                    </a:lnTo>
                    <a:lnTo>
                      <a:pt x="2101" y="1854"/>
                    </a:lnTo>
                    <a:lnTo>
                      <a:pt x="2348" y="1298"/>
                    </a:lnTo>
                    <a:lnTo>
                      <a:pt x="2719" y="866"/>
                    </a:lnTo>
                    <a:lnTo>
                      <a:pt x="3151" y="371"/>
                    </a:lnTo>
                    <a:lnTo>
                      <a:pt x="3645" y="1"/>
                    </a:lnTo>
                    <a:lnTo>
                      <a:pt x="3645" y="1"/>
                    </a:lnTo>
                    <a:lnTo>
                      <a:pt x="3213" y="124"/>
                    </a:lnTo>
                    <a:lnTo>
                      <a:pt x="2719" y="310"/>
                    </a:lnTo>
                    <a:lnTo>
                      <a:pt x="2163" y="618"/>
                    </a:lnTo>
                    <a:lnTo>
                      <a:pt x="1545" y="1113"/>
                    </a:lnTo>
                    <a:lnTo>
                      <a:pt x="1236" y="1421"/>
                    </a:lnTo>
                    <a:lnTo>
                      <a:pt x="927" y="1792"/>
                    </a:lnTo>
                    <a:lnTo>
                      <a:pt x="618" y="2163"/>
                    </a:lnTo>
                    <a:lnTo>
                      <a:pt x="371" y="2657"/>
                    </a:lnTo>
                    <a:lnTo>
                      <a:pt x="186" y="3213"/>
                    </a:lnTo>
                    <a:lnTo>
                      <a:pt x="1" y="383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1369;p142">
                <a:extLst>
                  <a:ext uri="{FF2B5EF4-FFF2-40B4-BE49-F238E27FC236}">
                    <a16:creationId xmlns:a16="http://schemas.microsoft.com/office/drawing/2014/main" id="{376F5373-874C-52A1-5622-6E50637ED33A}"/>
                  </a:ext>
                </a:extLst>
              </p:cNvPr>
              <p:cNvSpPr/>
              <p:nvPr/>
            </p:nvSpPr>
            <p:spPr>
              <a:xfrm>
                <a:off x="11896062" y="2832590"/>
                <a:ext cx="45441" cy="56262"/>
              </a:xfrm>
              <a:custGeom>
                <a:avLst/>
                <a:gdLst/>
                <a:ahLst/>
                <a:cxnLst/>
                <a:rect l="l" t="t" r="r" b="b"/>
                <a:pathLst>
                  <a:path w="3893" h="4819" extrusionOk="0">
                    <a:moveTo>
                      <a:pt x="1668" y="1"/>
                    </a:moveTo>
                    <a:lnTo>
                      <a:pt x="1" y="4819"/>
                    </a:lnTo>
                    <a:lnTo>
                      <a:pt x="3892" y="4819"/>
                    </a:lnTo>
                    <a:lnTo>
                      <a:pt x="3830" y="4016"/>
                    </a:lnTo>
                    <a:lnTo>
                      <a:pt x="3769" y="2348"/>
                    </a:lnTo>
                    <a:lnTo>
                      <a:pt x="3645" y="1"/>
                    </a:lnTo>
                    <a:lnTo>
                      <a:pt x="3522" y="248"/>
                    </a:lnTo>
                    <a:lnTo>
                      <a:pt x="3336" y="433"/>
                    </a:lnTo>
                    <a:lnTo>
                      <a:pt x="3089" y="680"/>
                    </a:lnTo>
                    <a:lnTo>
                      <a:pt x="2780" y="804"/>
                    </a:lnTo>
                    <a:lnTo>
                      <a:pt x="2657" y="804"/>
                    </a:lnTo>
                    <a:lnTo>
                      <a:pt x="2471" y="742"/>
                    </a:lnTo>
                    <a:lnTo>
                      <a:pt x="2286" y="680"/>
                    </a:lnTo>
                    <a:lnTo>
                      <a:pt x="2101" y="495"/>
                    </a:lnTo>
                    <a:lnTo>
                      <a:pt x="1916" y="310"/>
                    </a:lnTo>
                    <a:lnTo>
                      <a:pt x="1668" y="1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4" name="Google Shape;1370;p142">
                <a:extLst>
                  <a:ext uri="{FF2B5EF4-FFF2-40B4-BE49-F238E27FC236}">
                    <a16:creationId xmlns:a16="http://schemas.microsoft.com/office/drawing/2014/main" id="{DD6795AD-84FB-4B2F-8303-97883E8E55AD}"/>
                  </a:ext>
                </a:extLst>
              </p:cNvPr>
              <p:cNvSpPr/>
              <p:nvPr/>
            </p:nvSpPr>
            <p:spPr>
              <a:xfrm>
                <a:off x="11938597" y="2740332"/>
                <a:ext cx="32450" cy="77172"/>
              </a:xfrm>
              <a:custGeom>
                <a:avLst/>
                <a:gdLst/>
                <a:ahLst/>
                <a:cxnLst/>
                <a:rect l="l" t="t" r="r" b="b"/>
                <a:pathLst>
                  <a:path w="2780" h="6610" extrusionOk="0">
                    <a:moveTo>
                      <a:pt x="0" y="0"/>
                    </a:moveTo>
                    <a:lnTo>
                      <a:pt x="618" y="494"/>
                    </a:lnTo>
                    <a:lnTo>
                      <a:pt x="1112" y="988"/>
                    </a:lnTo>
                    <a:lnTo>
                      <a:pt x="1483" y="1544"/>
                    </a:lnTo>
                    <a:lnTo>
                      <a:pt x="1668" y="2100"/>
                    </a:lnTo>
                    <a:lnTo>
                      <a:pt x="1853" y="2656"/>
                    </a:lnTo>
                    <a:lnTo>
                      <a:pt x="1915" y="3212"/>
                    </a:lnTo>
                    <a:lnTo>
                      <a:pt x="1915" y="3768"/>
                    </a:lnTo>
                    <a:lnTo>
                      <a:pt x="1853" y="4262"/>
                    </a:lnTo>
                    <a:lnTo>
                      <a:pt x="1730" y="4756"/>
                    </a:lnTo>
                    <a:lnTo>
                      <a:pt x="1606" y="5189"/>
                    </a:lnTo>
                    <a:lnTo>
                      <a:pt x="1236" y="5930"/>
                    </a:lnTo>
                    <a:lnTo>
                      <a:pt x="988" y="6424"/>
                    </a:lnTo>
                    <a:lnTo>
                      <a:pt x="865" y="6610"/>
                    </a:lnTo>
                    <a:lnTo>
                      <a:pt x="2780" y="4695"/>
                    </a:lnTo>
                    <a:lnTo>
                      <a:pt x="2780" y="4015"/>
                    </a:lnTo>
                    <a:lnTo>
                      <a:pt x="2718" y="3397"/>
                    </a:lnTo>
                    <a:lnTo>
                      <a:pt x="2594" y="2842"/>
                    </a:lnTo>
                    <a:lnTo>
                      <a:pt x="2471" y="2347"/>
                    </a:lnTo>
                    <a:lnTo>
                      <a:pt x="2286" y="1915"/>
                    </a:lnTo>
                    <a:lnTo>
                      <a:pt x="2039" y="1483"/>
                    </a:lnTo>
                    <a:lnTo>
                      <a:pt x="1791" y="1174"/>
                    </a:lnTo>
                    <a:lnTo>
                      <a:pt x="1483" y="865"/>
                    </a:lnTo>
                    <a:lnTo>
                      <a:pt x="988" y="433"/>
                    </a:lnTo>
                    <a:lnTo>
                      <a:pt x="494" y="18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5" name="Google Shape;1371;p142">
                <a:extLst>
                  <a:ext uri="{FF2B5EF4-FFF2-40B4-BE49-F238E27FC236}">
                    <a16:creationId xmlns:a16="http://schemas.microsoft.com/office/drawing/2014/main" id="{1662862B-EA6D-6C91-7D5A-84D9BD724B4C}"/>
                  </a:ext>
                </a:extLst>
              </p:cNvPr>
              <p:cNvSpPr/>
              <p:nvPr/>
            </p:nvSpPr>
            <p:spPr>
              <a:xfrm>
                <a:off x="11938597" y="2740332"/>
                <a:ext cx="32450" cy="77172"/>
              </a:xfrm>
              <a:custGeom>
                <a:avLst/>
                <a:gdLst/>
                <a:ahLst/>
                <a:cxnLst/>
                <a:rect l="l" t="t" r="r" b="b"/>
                <a:pathLst>
                  <a:path w="2780" h="6610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18" y="494"/>
                    </a:lnTo>
                    <a:lnTo>
                      <a:pt x="1112" y="988"/>
                    </a:lnTo>
                    <a:lnTo>
                      <a:pt x="1483" y="1544"/>
                    </a:lnTo>
                    <a:lnTo>
                      <a:pt x="1668" y="2100"/>
                    </a:lnTo>
                    <a:lnTo>
                      <a:pt x="1853" y="2656"/>
                    </a:lnTo>
                    <a:lnTo>
                      <a:pt x="1915" y="3212"/>
                    </a:lnTo>
                    <a:lnTo>
                      <a:pt x="1915" y="3768"/>
                    </a:lnTo>
                    <a:lnTo>
                      <a:pt x="1853" y="4262"/>
                    </a:lnTo>
                    <a:lnTo>
                      <a:pt x="1730" y="4756"/>
                    </a:lnTo>
                    <a:lnTo>
                      <a:pt x="1606" y="5189"/>
                    </a:lnTo>
                    <a:lnTo>
                      <a:pt x="1236" y="5930"/>
                    </a:lnTo>
                    <a:lnTo>
                      <a:pt x="988" y="6424"/>
                    </a:lnTo>
                    <a:lnTo>
                      <a:pt x="865" y="6610"/>
                    </a:lnTo>
                    <a:lnTo>
                      <a:pt x="2780" y="4695"/>
                    </a:lnTo>
                    <a:lnTo>
                      <a:pt x="2780" y="4695"/>
                    </a:lnTo>
                    <a:lnTo>
                      <a:pt x="2780" y="4015"/>
                    </a:lnTo>
                    <a:lnTo>
                      <a:pt x="2718" y="3397"/>
                    </a:lnTo>
                    <a:lnTo>
                      <a:pt x="2594" y="2842"/>
                    </a:lnTo>
                    <a:lnTo>
                      <a:pt x="2471" y="2347"/>
                    </a:lnTo>
                    <a:lnTo>
                      <a:pt x="2286" y="1915"/>
                    </a:lnTo>
                    <a:lnTo>
                      <a:pt x="2039" y="1483"/>
                    </a:lnTo>
                    <a:lnTo>
                      <a:pt x="1791" y="1174"/>
                    </a:lnTo>
                    <a:lnTo>
                      <a:pt x="1483" y="865"/>
                    </a:lnTo>
                    <a:lnTo>
                      <a:pt x="988" y="433"/>
                    </a:lnTo>
                    <a:lnTo>
                      <a:pt x="494" y="18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6" name="Google Shape;1372;p142">
                <a:extLst>
                  <a:ext uri="{FF2B5EF4-FFF2-40B4-BE49-F238E27FC236}">
                    <a16:creationId xmlns:a16="http://schemas.microsoft.com/office/drawing/2014/main" id="{0B2B8B28-7F12-C23C-A6D9-2AADB60B0F62}"/>
                  </a:ext>
                </a:extLst>
              </p:cNvPr>
              <p:cNvSpPr/>
              <p:nvPr/>
            </p:nvSpPr>
            <p:spPr>
              <a:xfrm>
                <a:off x="11815332" y="2756191"/>
                <a:ext cx="98784" cy="109628"/>
              </a:xfrm>
              <a:custGeom>
                <a:avLst/>
                <a:gdLst/>
                <a:ahLst/>
                <a:cxnLst/>
                <a:rect l="l" t="t" r="r" b="b"/>
                <a:pathLst>
                  <a:path w="8463" h="9390" extrusionOk="0">
                    <a:moveTo>
                      <a:pt x="0" y="0"/>
                    </a:moveTo>
                    <a:lnTo>
                      <a:pt x="1112" y="680"/>
                    </a:lnTo>
                    <a:lnTo>
                      <a:pt x="2039" y="1359"/>
                    </a:lnTo>
                    <a:lnTo>
                      <a:pt x="2904" y="2100"/>
                    </a:lnTo>
                    <a:lnTo>
                      <a:pt x="3583" y="2841"/>
                    </a:lnTo>
                    <a:lnTo>
                      <a:pt x="4201" y="3583"/>
                    </a:lnTo>
                    <a:lnTo>
                      <a:pt x="4695" y="4386"/>
                    </a:lnTo>
                    <a:lnTo>
                      <a:pt x="5066" y="5127"/>
                    </a:lnTo>
                    <a:lnTo>
                      <a:pt x="5374" y="5806"/>
                    </a:lnTo>
                    <a:lnTo>
                      <a:pt x="5621" y="6486"/>
                    </a:lnTo>
                    <a:lnTo>
                      <a:pt x="5807" y="7104"/>
                    </a:lnTo>
                    <a:lnTo>
                      <a:pt x="5992" y="8215"/>
                    </a:lnTo>
                    <a:lnTo>
                      <a:pt x="6116" y="8895"/>
                    </a:lnTo>
                    <a:lnTo>
                      <a:pt x="6116" y="9142"/>
                    </a:lnTo>
                    <a:lnTo>
                      <a:pt x="8463" y="9389"/>
                    </a:lnTo>
                    <a:lnTo>
                      <a:pt x="6919" y="5251"/>
                    </a:lnTo>
                    <a:lnTo>
                      <a:pt x="6610" y="4695"/>
                    </a:lnTo>
                    <a:lnTo>
                      <a:pt x="6177" y="4077"/>
                    </a:lnTo>
                    <a:lnTo>
                      <a:pt x="5683" y="3583"/>
                    </a:lnTo>
                    <a:lnTo>
                      <a:pt x="5189" y="3027"/>
                    </a:lnTo>
                    <a:lnTo>
                      <a:pt x="4633" y="2594"/>
                    </a:lnTo>
                    <a:lnTo>
                      <a:pt x="4077" y="2162"/>
                    </a:lnTo>
                    <a:lnTo>
                      <a:pt x="2904" y="1421"/>
                    </a:lnTo>
                    <a:lnTo>
                      <a:pt x="1792" y="803"/>
                    </a:lnTo>
                    <a:lnTo>
                      <a:pt x="865" y="3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7" name="Google Shape;1373;p142">
                <a:extLst>
                  <a:ext uri="{FF2B5EF4-FFF2-40B4-BE49-F238E27FC236}">
                    <a16:creationId xmlns:a16="http://schemas.microsoft.com/office/drawing/2014/main" id="{07DCCD4D-2B80-BBDA-F920-03FB97B09617}"/>
                  </a:ext>
                </a:extLst>
              </p:cNvPr>
              <p:cNvSpPr/>
              <p:nvPr/>
            </p:nvSpPr>
            <p:spPr>
              <a:xfrm>
                <a:off x="11815332" y="2756191"/>
                <a:ext cx="98784" cy="109628"/>
              </a:xfrm>
              <a:custGeom>
                <a:avLst/>
                <a:gdLst/>
                <a:ahLst/>
                <a:cxnLst/>
                <a:rect l="l" t="t" r="r" b="b"/>
                <a:pathLst>
                  <a:path w="8463" h="9390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1112" y="680"/>
                    </a:lnTo>
                    <a:lnTo>
                      <a:pt x="2039" y="1359"/>
                    </a:lnTo>
                    <a:lnTo>
                      <a:pt x="2904" y="2100"/>
                    </a:lnTo>
                    <a:lnTo>
                      <a:pt x="3583" y="2841"/>
                    </a:lnTo>
                    <a:lnTo>
                      <a:pt x="4201" y="3583"/>
                    </a:lnTo>
                    <a:lnTo>
                      <a:pt x="4695" y="4386"/>
                    </a:lnTo>
                    <a:lnTo>
                      <a:pt x="5066" y="5127"/>
                    </a:lnTo>
                    <a:lnTo>
                      <a:pt x="5374" y="5806"/>
                    </a:lnTo>
                    <a:lnTo>
                      <a:pt x="5621" y="6486"/>
                    </a:lnTo>
                    <a:lnTo>
                      <a:pt x="5807" y="7104"/>
                    </a:lnTo>
                    <a:lnTo>
                      <a:pt x="5992" y="8215"/>
                    </a:lnTo>
                    <a:lnTo>
                      <a:pt x="6116" y="8895"/>
                    </a:lnTo>
                    <a:lnTo>
                      <a:pt x="6116" y="9142"/>
                    </a:lnTo>
                    <a:lnTo>
                      <a:pt x="8463" y="9389"/>
                    </a:lnTo>
                    <a:lnTo>
                      <a:pt x="6919" y="5251"/>
                    </a:lnTo>
                    <a:lnTo>
                      <a:pt x="6919" y="5251"/>
                    </a:lnTo>
                    <a:lnTo>
                      <a:pt x="6610" y="4695"/>
                    </a:lnTo>
                    <a:lnTo>
                      <a:pt x="6177" y="4077"/>
                    </a:lnTo>
                    <a:lnTo>
                      <a:pt x="5683" y="3583"/>
                    </a:lnTo>
                    <a:lnTo>
                      <a:pt x="5189" y="3027"/>
                    </a:lnTo>
                    <a:lnTo>
                      <a:pt x="4633" y="2594"/>
                    </a:lnTo>
                    <a:lnTo>
                      <a:pt x="4077" y="2162"/>
                    </a:lnTo>
                    <a:lnTo>
                      <a:pt x="2904" y="1421"/>
                    </a:lnTo>
                    <a:lnTo>
                      <a:pt x="1792" y="803"/>
                    </a:lnTo>
                    <a:lnTo>
                      <a:pt x="865" y="37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8" name="Google Shape;1374;p142">
                <a:extLst>
                  <a:ext uri="{FF2B5EF4-FFF2-40B4-BE49-F238E27FC236}">
                    <a16:creationId xmlns:a16="http://schemas.microsoft.com/office/drawing/2014/main" id="{EB79CE27-72A0-724E-AB0D-396FC3E767FF}"/>
                  </a:ext>
                </a:extLst>
              </p:cNvPr>
              <p:cNvSpPr/>
              <p:nvPr/>
            </p:nvSpPr>
            <p:spPr>
              <a:xfrm>
                <a:off x="11615655" y="2241529"/>
                <a:ext cx="642443" cy="563961"/>
              </a:xfrm>
              <a:custGeom>
                <a:avLst/>
                <a:gdLst/>
                <a:ahLst/>
                <a:cxnLst/>
                <a:rect l="l" t="t" r="r" b="b"/>
                <a:pathLst>
                  <a:path w="55039" h="48305" extrusionOk="0">
                    <a:moveTo>
                      <a:pt x="21065" y="0"/>
                    </a:moveTo>
                    <a:lnTo>
                      <a:pt x="20200" y="62"/>
                    </a:lnTo>
                    <a:lnTo>
                      <a:pt x="19335" y="124"/>
                    </a:lnTo>
                    <a:lnTo>
                      <a:pt x="18470" y="247"/>
                    </a:lnTo>
                    <a:lnTo>
                      <a:pt x="17606" y="371"/>
                    </a:lnTo>
                    <a:lnTo>
                      <a:pt x="16803" y="556"/>
                    </a:lnTo>
                    <a:lnTo>
                      <a:pt x="15999" y="803"/>
                    </a:lnTo>
                    <a:lnTo>
                      <a:pt x="15196" y="1050"/>
                    </a:lnTo>
                    <a:lnTo>
                      <a:pt x="14393" y="1359"/>
                    </a:lnTo>
                    <a:lnTo>
                      <a:pt x="13652" y="1730"/>
                    </a:lnTo>
                    <a:lnTo>
                      <a:pt x="12911" y="2100"/>
                    </a:lnTo>
                    <a:lnTo>
                      <a:pt x="12170" y="2471"/>
                    </a:lnTo>
                    <a:lnTo>
                      <a:pt x="11490" y="2965"/>
                    </a:lnTo>
                    <a:lnTo>
                      <a:pt x="10811" y="3398"/>
                    </a:lnTo>
                    <a:lnTo>
                      <a:pt x="10193" y="3954"/>
                    </a:lnTo>
                    <a:lnTo>
                      <a:pt x="9575" y="4448"/>
                    </a:lnTo>
                    <a:lnTo>
                      <a:pt x="8958" y="5004"/>
                    </a:lnTo>
                    <a:lnTo>
                      <a:pt x="8402" y="5621"/>
                    </a:lnTo>
                    <a:lnTo>
                      <a:pt x="7846" y="6239"/>
                    </a:lnTo>
                    <a:lnTo>
                      <a:pt x="7352" y="6857"/>
                    </a:lnTo>
                    <a:lnTo>
                      <a:pt x="6857" y="7536"/>
                    </a:lnTo>
                    <a:lnTo>
                      <a:pt x="6425" y="8216"/>
                    </a:lnTo>
                    <a:lnTo>
                      <a:pt x="5993" y="8957"/>
                    </a:lnTo>
                    <a:lnTo>
                      <a:pt x="5622" y="9698"/>
                    </a:lnTo>
                    <a:lnTo>
                      <a:pt x="5313" y="10439"/>
                    </a:lnTo>
                    <a:lnTo>
                      <a:pt x="5004" y="11242"/>
                    </a:lnTo>
                    <a:lnTo>
                      <a:pt x="4757" y="11984"/>
                    </a:lnTo>
                    <a:lnTo>
                      <a:pt x="4510" y="12848"/>
                    </a:lnTo>
                    <a:lnTo>
                      <a:pt x="4325" y="13651"/>
                    </a:lnTo>
                    <a:lnTo>
                      <a:pt x="4140" y="14516"/>
                    </a:lnTo>
                    <a:lnTo>
                      <a:pt x="4016" y="15319"/>
                    </a:lnTo>
                    <a:lnTo>
                      <a:pt x="3954" y="16184"/>
                    </a:lnTo>
                    <a:lnTo>
                      <a:pt x="3954" y="17111"/>
                    </a:lnTo>
                    <a:lnTo>
                      <a:pt x="4016" y="18470"/>
                    </a:lnTo>
                    <a:lnTo>
                      <a:pt x="4201" y="19828"/>
                    </a:lnTo>
                    <a:lnTo>
                      <a:pt x="4448" y="21187"/>
                    </a:lnTo>
                    <a:lnTo>
                      <a:pt x="4819" y="22485"/>
                    </a:lnTo>
                    <a:lnTo>
                      <a:pt x="4325" y="22855"/>
                    </a:lnTo>
                    <a:lnTo>
                      <a:pt x="3769" y="23349"/>
                    </a:lnTo>
                    <a:lnTo>
                      <a:pt x="3337" y="23782"/>
                    </a:lnTo>
                    <a:lnTo>
                      <a:pt x="2842" y="24276"/>
                    </a:lnTo>
                    <a:lnTo>
                      <a:pt x="2410" y="24832"/>
                    </a:lnTo>
                    <a:lnTo>
                      <a:pt x="2039" y="25326"/>
                    </a:lnTo>
                    <a:lnTo>
                      <a:pt x="1669" y="25944"/>
                    </a:lnTo>
                    <a:lnTo>
                      <a:pt x="1360" y="26500"/>
                    </a:lnTo>
                    <a:lnTo>
                      <a:pt x="1051" y="27117"/>
                    </a:lnTo>
                    <a:lnTo>
                      <a:pt x="804" y="27735"/>
                    </a:lnTo>
                    <a:lnTo>
                      <a:pt x="557" y="28414"/>
                    </a:lnTo>
                    <a:lnTo>
                      <a:pt x="372" y="29094"/>
                    </a:lnTo>
                    <a:lnTo>
                      <a:pt x="248" y="29773"/>
                    </a:lnTo>
                    <a:lnTo>
                      <a:pt x="124" y="30453"/>
                    </a:lnTo>
                    <a:lnTo>
                      <a:pt x="63" y="31132"/>
                    </a:lnTo>
                    <a:lnTo>
                      <a:pt x="1" y="31874"/>
                    </a:lnTo>
                    <a:lnTo>
                      <a:pt x="63" y="33047"/>
                    </a:lnTo>
                    <a:lnTo>
                      <a:pt x="248" y="34221"/>
                    </a:lnTo>
                    <a:lnTo>
                      <a:pt x="557" y="35333"/>
                    </a:lnTo>
                    <a:lnTo>
                      <a:pt x="928" y="36383"/>
                    </a:lnTo>
                    <a:lnTo>
                      <a:pt x="1422" y="37433"/>
                    </a:lnTo>
                    <a:lnTo>
                      <a:pt x="2039" y="38359"/>
                    </a:lnTo>
                    <a:lnTo>
                      <a:pt x="2719" y="39286"/>
                    </a:lnTo>
                    <a:lnTo>
                      <a:pt x="3460" y="40089"/>
                    </a:lnTo>
                    <a:lnTo>
                      <a:pt x="4263" y="40830"/>
                    </a:lnTo>
                    <a:lnTo>
                      <a:pt x="5190" y="41510"/>
                    </a:lnTo>
                    <a:lnTo>
                      <a:pt x="6116" y="42066"/>
                    </a:lnTo>
                    <a:lnTo>
                      <a:pt x="7166" y="42560"/>
                    </a:lnTo>
                    <a:lnTo>
                      <a:pt x="8216" y="42992"/>
                    </a:lnTo>
                    <a:lnTo>
                      <a:pt x="9328" y="43239"/>
                    </a:lnTo>
                    <a:lnTo>
                      <a:pt x="10502" y="43425"/>
                    </a:lnTo>
                    <a:lnTo>
                      <a:pt x="11676" y="43486"/>
                    </a:lnTo>
                    <a:lnTo>
                      <a:pt x="12726" y="43425"/>
                    </a:lnTo>
                    <a:lnTo>
                      <a:pt x="13776" y="43301"/>
                    </a:lnTo>
                    <a:lnTo>
                      <a:pt x="14826" y="43054"/>
                    </a:lnTo>
                    <a:lnTo>
                      <a:pt x="15752" y="42745"/>
                    </a:lnTo>
                    <a:lnTo>
                      <a:pt x="16185" y="43363"/>
                    </a:lnTo>
                    <a:lnTo>
                      <a:pt x="16679" y="43919"/>
                    </a:lnTo>
                    <a:lnTo>
                      <a:pt x="17173" y="44475"/>
                    </a:lnTo>
                    <a:lnTo>
                      <a:pt x="17729" y="45031"/>
                    </a:lnTo>
                    <a:lnTo>
                      <a:pt x="18285" y="45525"/>
                    </a:lnTo>
                    <a:lnTo>
                      <a:pt x="18903" y="45957"/>
                    </a:lnTo>
                    <a:lnTo>
                      <a:pt x="19520" y="46390"/>
                    </a:lnTo>
                    <a:lnTo>
                      <a:pt x="20138" y="46760"/>
                    </a:lnTo>
                    <a:lnTo>
                      <a:pt x="20818" y="47131"/>
                    </a:lnTo>
                    <a:lnTo>
                      <a:pt x="21559" y="47440"/>
                    </a:lnTo>
                    <a:lnTo>
                      <a:pt x="22238" y="47687"/>
                    </a:lnTo>
                    <a:lnTo>
                      <a:pt x="22980" y="47872"/>
                    </a:lnTo>
                    <a:lnTo>
                      <a:pt x="23783" y="48057"/>
                    </a:lnTo>
                    <a:lnTo>
                      <a:pt x="24524" y="48181"/>
                    </a:lnTo>
                    <a:lnTo>
                      <a:pt x="25327" y="48243"/>
                    </a:lnTo>
                    <a:lnTo>
                      <a:pt x="26130" y="48304"/>
                    </a:lnTo>
                    <a:lnTo>
                      <a:pt x="26933" y="48243"/>
                    </a:lnTo>
                    <a:lnTo>
                      <a:pt x="27674" y="48181"/>
                    </a:lnTo>
                    <a:lnTo>
                      <a:pt x="28415" y="48057"/>
                    </a:lnTo>
                    <a:lnTo>
                      <a:pt x="29157" y="47934"/>
                    </a:lnTo>
                    <a:lnTo>
                      <a:pt x="29898" y="47687"/>
                    </a:lnTo>
                    <a:lnTo>
                      <a:pt x="30577" y="47440"/>
                    </a:lnTo>
                    <a:lnTo>
                      <a:pt x="31257" y="47193"/>
                    </a:lnTo>
                    <a:lnTo>
                      <a:pt x="31936" y="46884"/>
                    </a:lnTo>
                    <a:lnTo>
                      <a:pt x="32554" y="46513"/>
                    </a:lnTo>
                    <a:lnTo>
                      <a:pt x="33172" y="46081"/>
                    </a:lnTo>
                    <a:lnTo>
                      <a:pt x="33789" y="45648"/>
                    </a:lnTo>
                    <a:lnTo>
                      <a:pt x="34345" y="45216"/>
                    </a:lnTo>
                    <a:lnTo>
                      <a:pt x="34839" y="44722"/>
                    </a:lnTo>
                    <a:lnTo>
                      <a:pt x="35395" y="44166"/>
                    </a:lnTo>
                    <a:lnTo>
                      <a:pt x="35828" y="43610"/>
                    </a:lnTo>
                    <a:lnTo>
                      <a:pt x="36260" y="42992"/>
                    </a:lnTo>
                    <a:lnTo>
                      <a:pt x="37496" y="43425"/>
                    </a:lnTo>
                    <a:lnTo>
                      <a:pt x="38793" y="43733"/>
                    </a:lnTo>
                    <a:lnTo>
                      <a:pt x="40090" y="43919"/>
                    </a:lnTo>
                    <a:lnTo>
                      <a:pt x="41449" y="43981"/>
                    </a:lnTo>
                    <a:lnTo>
                      <a:pt x="42870" y="43919"/>
                    </a:lnTo>
                    <a:lnTo>
                      <a:pt x="44167" y="43733"/>
                    </a:lnTo>
                    <a:lnTo>
                      <a:pt x="45464" y="43425"/>
                    </a:lnTo>
                    <a:lnTo>
                      <a:pt x="46699" y="42992"/>
                    </a:lnTo>
                    <a:lnTo>
                      <a:pt x="47935" y="42436"/>
                    </a:lnTo>
                    <a:lnTo>
                      <a:pt x="49047" y="41819"/>
                    </a:lnTo>
                    <a:lnTo>
                      <a:pt x="50097" y="41077"/>
                    </a:lnTo>
                    <a:lnTo>
                      <a:pt x="51023" y="40213"/>
                    </a:lnTo>
                    <a:lnTo>
                      <a:pt x="51888" y="39286"/>
                    </a:lnTo>
                    <a:lnTo>
                      <a:pt x="52691" y="38298"/>
                    </a:lnTo>
                    <a:lnTo>
                      <a:pt x="53371" y="37248"/>
                    </a:lnTo>
                    <a:lnTo>
                      <a:pt x="53927" y="36136"/>
                    </a:lnTo>
                    <a:lnTo>
                      <a:pt x="54421" y="34962"/>
                    </a:lnTo>
                    <a:lnTo>
                      <a:pt x="54730" y="33727"/>
                    </a:lnTo>
                    <a:lnTo>
                      <a:pt x="54915" y="32430"/>
                    </a:lnTo>
                    <a:lnTo>
                      <a:pt x="55038" y="31132"/>
                    </a:lnTo>
                    <a:lnTo>
                      <a:pt x="54977" y="30329"/>
                    </a:lnTo>
                    <a:lnTo>
                      <a:pt x="54915" y="29588"/>
                    </a:lnTo>
                    <a:lnTo>
                      <a:pt x="54791" y="28847"/>
                    </a:lnTo>
                    <a:lnTo>
                      <a:pt x="54668" y="28106"/>
                    </a:lnTo>
                    <a:lnTo>
                      <a:pt x="54421" y="27426"/>
                    </a:lnTo>
                    <a:lnTo>
                      <a:pt x="54174" y="26685"/>
                    </a:lnTo>
                    <a:lnTo>
                      <a:pt x="53927" y="26005"/>
                    </a:lnTo>
                    <a:lnTo>
                      <a:pt x="53618" y="25388"/>
                    </a:lnTo>
                    <a:lnTo>
                      <a:pt x="53247" y="24770"/>
                    </a:lnTo>
                    <a:lnTo>
                      <a:pt x="52815" y="24152"/>
                    </a:lnTo>
                    <a:lnTo>
                      <a:pt x="52382" y="23535"/>
                    </a:lnTo>
                    <a:lnTo>
                      <a:pt x="51950" y="22979"/>
                    </a:lnTo>
                    <a:lnTo>
                      <a:pt x="51456" y="22423"/>
                    </a:lnTo>
                    <a:lnTo>
                      <a:pt x="50962" y="21929"/>
                    </a:lnTo>
                    <a:lnTo>
                      <a:pt x="50406" y="21434"/>
                    </a:lnTo>
                    <a:lnTo>
                      <a:pt x="49788" y="20940"/>
                    </a:lnTo>
                    <a:lnTo>
                      <a:pt x="50035" y="20014"/>
                    </a:lnTo>
                    <a:lnTo>
                      <a:pt x="50159" y="19087"/>
                    </a:lnTo>
                    <a:lnTo>
                      <a:pt x="50282" y="18099"/>
                    </a:lnTo>
                    <a:lnTo>
                      <a:pt x="50344" y="17049"/>
                    </a:lnTo>
                    <a:lnTo>
                      <a:pt x="50282" y="16246"/>
                    </a:lnTo>
                    <a:lnTo>
                      <a:pt x="50220" y="15505"/>
                    </a:lnTo>
                    <a:lnTo>
                      <a:pt x="50159" y="14702"/>
                    </a:lnTo>
                    <a:lnTo>
                      <a:pt x="49973" y="13960"/>
                    </a:lnTo>
                    <a:lnTo>
                      <a:pt x="49850" y="13219"/>
                    </a:lnTo>
                    <a:lnTo>
                      <a:pt x="49603" y="12478"/>
                    </a:lnTo>
                    <a:lnTo>
                      <a:pt x="49356" y="11737"/>
                    </a:lnTo>
                    <a:lnTo>
                      <a:pt x="49108" y="11057"/>
                    </a:lnTo>
                    <a:lnTo>
                      <a:pt x="48429" y="9698"/>
                    </a:lnTo>
                    <a:lnTo>
                      <a:pt x="47688" y="8401"/>
                    </a:lnTo>
                    <a:lnTo>
                      <a:pt x="46761" y="7166"/>
                    </a:lnTo>
                    <a:lnTo>
                      <a:pt x="45773" y="6116"/>
                    </a:lnTo>
                    <a:lnTo>
                      <a:pt x="44661" y="5065"/>
                    </a:lnTo>
                    <a:lnTo>
                      <a:pt x="43487" y="4201"/>
                    </a:lnTo>
                    <a:lnTo>
                      <a:pt x="42190" y="3398"/>
                    </a:lnTo>
                    <a:lnTo>
                      <a:pt x="40831" y="2780"/>
                    </a:lnTo>
                    <a:lnTo>
                      <a:pt x="40090" y="2471"/>
                    </a:lnTo>
                    <a:lnTo>
                      <a:pt x="39410" y="2224"/>
                    </a:lnTo>
                    <a:lnTo>
                      <a:pt x="38669" y="2039"/>
                    </a:lnTo>
                    <a:lnTo>
                      <a:pt x="37866" y="1853"/>
                    </a:lnTo>
                    <a:lnTo>
                      <a:pt x="37125" y="1730"/>
                    </a:lnTo>
                    <a:lnTo>
                      <a:pt x="36322" y="1606"/>
                    </a:lnTo>
                    <a:lnTo>
                      <a:pt x="35581" y="1545"/>
                    </a:lnTo>
                    <a:lnTo>
                      <a:pt x="34778" y="1545"/>
                    </a:lnTo>
                    <a:lnTo>
                      <a:pt x="33419" y="1606"/>
                    </a:lnTo>
                    <a:lnTo>
                      <a:pt x="32183" y="1792"/>
                    </a:lnTo>
                    <a:lnTo>
                      <a:pt x="30948" y="2039"/>
                    </a:lnTo>
                    <a:lnTo>
                      <a:pt x="29713" y="2409"/>
                    </a:lnTo>
                    <a:lnTo>
                      <a:pt x="28724" y="1853"/>
                    </a:lnTo>
                    <a:lnTo>
                      <a:pt x="27736" y="1421"/>
                    </a:lnTo>
                    <a:lnTo>
                      <a:pt x="26686" y="989"/>
                    </a:lnTo>
                    <a:lnTo>
                      <a:pt x="25636" y="680"/>
                    </a:lnTo>
                    <a:lnTo>
                      <a:pt x="24524" y="371"/>
                    </a:lnTo>
                    <a:lnTo>
                      <a:pt x="23412" y="186"/>
                    </a:lnTo>
                    <a:lnTo>
                      <a:pt x="22238" y="62"/>
                    </a:lnTo>
                    <a:lnTo>
                      <a:pt x="21065" y="0"/>
                    </a:lnTo>
                    <a:close/>
                  </a:path>
                </a:pathLst>
              </a:custGeom>
              <a:solidFill>
                <a:srgbClr val="85A0BE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9" name="Google Shape;1375;p142">
                <a:extLst>
                  <a:ext uri="{FF2B5EF4-FFF2-40B4-BE49-F238E27FC236}">
                    <a16:creationId xmlns:a16="http://schemas.microsoft.com/office/drawing/2014/main" id="{9598ABE9-AD08-553A-47F3-A2FA566BD235}"/>
                  </a:ext>
                </a:extLst>
              </p:cNvPr>
              <p:cNvSpPr/>
              <p:nvPr/>
            </p:nvSpPr>
            <p:spPr>
              <a:xfrm>
                <a:off x="11615655" y="2241529"/>
                <a:ext cx="642443" cy="563961"/>
              </a:xfrm>
              <a:custGeom>
                <a:avLst/>
                <a:gdLst/>
                <a:ahLst/>
                <a:cxnLst/>
                <a:rect l="l" t="t" r="r" b="b"/>
                <a:pathLst>
                  <a:path w="55039" h="48305" fill="none" extrusionOk="0">
                    <a:moveTo>
                      <a:pt x="49788" y="20940"/>
                    </a:moveTo>
                    <a:lnTo>
                      <a:pt x="49788" y="20940"/>
                    </a:lnTo>
                    <a:lnTo>
                      <a:pt x="50035" y="20014"/>
                    </a:lnTo>
                    <a:lnTo>
                      <a:pt x="50159" y="19087"/>
                    </a:lnTo>
                    <a:lnTo>
                      <a:pt x="50282" y="18099"/>
                    </a:lnTo>
                    <a:lnTo>
                      <a:pt x="50344" y="17049"/>
                    </a:lnTo>
                    <a:lnTo>
                      <a:pt x="50344" y="17049"/>
                    </a:lnTo>
                    <a:lnTo>
                      <a:pt x="50282" y="16246"/>
                    </a:lnTo>
                    <a:lnTo>
                      <a:pt x="50220" y="15505"/>
                    </a:lnTo>
                    <a:lnTo>
                      <a:pt x="50159" y="14702"/>
                    </a:lnTo>
                    <a:lnTo>
                      <a:pt x="49973" y="13960"/>
                    </a:lnTo>
                    <a:lnTo>
                      <a:pt x="49850" y="13219"/>
                    </a:lnTo>
                    <a:lnTo>
                      <a:pt x="49603" y="12478"/>
                    </a:lnTo>
                    <a:lnTo>
                      <a:pt x="49356" y="11737"/>
                    </a:lnTo>
                    <a:lnTo>
                      <a:pt x="49108" y="11057"/>
                    </a:lnTo>
                    <a:lnTo>
                      <a:pt x="48429" y="9698"/>
                    </a:lnTo>
                    <a:lnTo>
                      <a:pt x="47688" y="8401"/>
                    </a:lnTo>
                    <a:lnTo>
                      <a:pt x="46761" y="7166"/>
                    </a:lnTo>
                    <a:lnTo>
                      <a:pt x="45773" y="6116"/>
                    </a:lnTo>
                    <a:lnTo>
                      <a:pt x="44661" y="5065"/>
                    </a:lnTo>
                    <a:lnTo>
                      <a:pt x="43487" y="4201"/>
                    </a:lnTo>
                    <a:lnTo>
                      <a:pt x="42190" y="3398"/>
                    </a:lnTo>
                    <a:lnTo>
                      <a:pt x="40831" y="2780"/>
                    </a:lnTo>
                    <a:lnTo>
                      <a:pt x="40090" y="2471"/>
                    </a:lnTo>
                    <a:lnTo>
                      <a:pt x="39410" y="2224"/>
                    </a:lnTo>
                    <a:lnTo>
                      <a:pt x="38669" y="2039"/>
                    </a:lnTo>
                    <a:lnTo>
                      <a:pt x="37866" y="1853"/>
                    </a:lnTo>
                    <a:lnTo>
                      <a:pt x="37125" y="1730"/>
                    </a:lnTo>
                    <a:lnTo>
                      <a:pt x="36322" y="1606"/>
                    </a:lnTo>
                    <a:lnTo>
                      <a:pt x="35581" y="1545"/>
                    </a:lnTo>
                    <a:lnTo>
                      <a:pt x="34778" y="1545"/>
                    </a:lnTo>
                    <a:lnTo>
                      <a:pt x="34778" y="1545"/>
                    </a:lnTo>
                    <a:lnTo>
                      <a:pt x="33419" y="1606"/>
                    </a:lnTo>
                    <a:lnTo>
                      <a:pt x="32183" y="1792"/>
                    </a:lnTo>
                    <a:lnTo>
                      <a:pt x="30948" y="2039"/>
                    </a:lnTo>
                    <a:lnTo>
                      <a:pt x="29713" y="2409"/>
                    </a:lnTo>
                    <a:lnTo>
                      <a:pt x="29713" y="2409"/>
                    </a:lnTo>
                    <a:lnTo>
                      <a:pt x="28724" y="1853"/>
                    </a:lnTo>
                    <a:lnTo>
                      <a:pt x="27736" y="1421"/>
                    </a:lnTo>
                    <a:lnTo>
                      <a:pt x="26686" y="989"/>
                    </a:lnTo>
                    <a:lnTo>
                      <a:pt x="25636" y="680"/>
                    </a:lnTo>
                    <a:lnTo>
                      <a:pt x="24524" y="371"/>
                    </a:lnTo>
                    <a:lnTo>
                      <a:pt x="23412" y="186"/>
                    </a:lnTo>
                    <a:lnTo>
                      <a:pt x="22238" y="62"/>
                    </a:lnTo>
                    <a:lnTo>
                      <a:pt x="21065" y="0"/>
                    </a:lnTo>
                    <a:lnTo>
                      <a:pt x="21065" y="0"/>
                    </a:lnTo>
                    <a:lnTo>
                      <a:pt x="20200" y="62"/>
                    </a:lnTo>
                    <a:lnTo>
                      <a:pt x="19335" y="124"/>
                    </a:lnTo>
                    <a:lnTo>
                      <a:pt x="18470" y="247"/>
                    </a:lnTo>
                    <a:lnTo>
                      <a:pt x="17606" y="371"/>
                    </a:lnTo>
                    <a:lnTo>
                      <a:pt x="16803" y="556"/>
                    </a:lnTo>
                    <a:lnTo>
                      <a:pt x="15999" y="803"/>
                    </a:lnTo>
                    <a:lnTo>
                      <a:pt x="15196" y="1050"/>
                    </a:lnTo>
                    <a:lnTo>
                      <a:pt x="14393" y="1359"/>
                    </a:lnTo>
                    <a:lnTo>
                      <a:pt x="13652" y="1730"/>
                    </a:lnTo>
                    <a:lnTo>
                      <a:pt x="12911" y="2100"/>
                    </a:lnTo>
                    <a:lnTo>
                      <a:pt x="12170" y="2471"/>
                    </a:lnTo>
                    <a:lnTo>
                      <a:pt x="11490" y="2965"/>
                    </a:lnTo>
                    <a:lnTo>
                      <a:pt x="10811" y="3398"/>
                    </a:lnTo>
                    <a:lnTo>
                      <a:pt x="10193" y="3954"/>
                    </a:lnTo>
                    <a:lnTo>
                      <a:pt x="9575" y="4448"/>
                    </a:lnTo>
                    <a:lnTo>
                      <a:pt x="8958" y="5004"/>
                    </a:lnTo>
                    <a:lnTo>
                      <a:pt x="8402" y="5621"/>
                    </a:lnTo>
                    <a:lnTo>
                      <a:pt x="7846" y="6239"/>
                    </a:lnTo>
                    <a:lnTo>
                      <a:pt x="7352" y="6857"/>
                    </a:lnTo>
                    <a:lnTo>
                      <a:pt x="6857" y="7536"/>
                    </a:lnTo>
                    <a:lnTo>
                      <a:pt x="6425" y="8216"/>
                    </a:lnTo>
                    <a:lnTo>
                      <a:pt x="5993" y="8957"/>
                    </a:lnTo>
                    <a:lnTo>
                      <a:pt x="5622" y="9698"/>
                    </a:lnTo>
                    <a:lnTo>
                      <a:pt x="5313" y="10439"/>
                    </a:lnTo>
                    <a:lnTo>
                      <a:pt x="5004" y="11242"/>
                    </a:lnTo>
                    <a:lnTo>
                      <a:pt x="4757" y="11984"/>
                    </a:lnTo>
                    <a:lnTo>
                      <a:pt x="4510" y="12848"/>
                    </a:lnTo>
                    <a:lnTo>
                      <a:pt x="4325" y="13651"/>
                    </a:lnTo>
                    <a:lnTo>
                      <a:pt x="4140" y="14516"/>
                    </a:lnTo>
                    <a:lnTo>
                      <a:pt x="4016" y="15319"/>
                    </a:lnTo>
                    <a:lnTo>
                      <a:pt x="3954" y="16184"/>
                    </a:lnTo>
                    <a:lnTo>
                      <a:pt x="3954" y="17111"/>
                    </a:lnTo>
                    <a:lnTo>
                      <a:pt x="3954" y="17111"/>
                    </a:lnTo>
                    <a:lnTo>
                      <a:pt x="4016" y="18470"/>
                    </a:lnTo>
                    <a:lnTo>
                      <a:pt x="4201" y="19828"/>
                    </a:lnTo>
                    <a:lnTo>
                      <a:pt x="4448" y="21187"/>
                    </a:lnTo>
                    <a:lnTo>
                      <a:pt x="4819" y="22485"/>
                    </a:lnTo>
                    <a:lnTo>
                      <a:pt x="4819" y="22485"/>
                    </a:lnTo>
                    <a:lnTo>
                      <a:pt x="4325" y="22855"/>
                    </a:lnTo>
                    <a:lnTo>
                      <a:pt x="3769" y="23349"/>
                    </a:lnTo>
                    <a:lnTo>
                      <a:pt x="3337" y="23782"/>
                    </a:lnTo>
                    <a:lnTo>
                      <a:pt x="2842" y="24276"/>
                    </a:lnTo>
                    <a:lnTo>
                      <a:pt x="2410" y="24832"/>
                    </a:lnTo>
                    <a:lnTo>
                      <a:pt x="2039" y="25326"/>
                    </a:lnTo>
                    <a:lnTo>
                      <a:pt x="1669" y="25944"/>
                    </a:lnTo>
                    <a:lnTo>
                      <a:pt x="1360" y="26500"/>
                    </a:lnTo>
                    <a:lnTo>
                      <a:pt x="1051" y="27117"/>
                    </a:lnTo>
                    <a:lnTo>
                      <a:pt x="804" y="27735"/>
                    </a:lnTo>
                    <a:lnTo>
                      <a:pt x="557" y="28414"/>
                    </a:lnTo>
                    <a:lnTo>
                      <a:pt x="372" y="29094"/>
                    </a:lnTo>
                    <a:lnTo>
                      <a:pt x="248" y="29773"/>
                    </a:lnTo>
                    <a:lnTo>
                      <a:pt x="124" y="30453"/>
                    </a:lnTo>
                    <a:lnTo>
                      <a:pt x="63" y="31132"/>
                    </a:lnTo>
                    <a:lnTo>
                      <a:pt x="1" y="31874"/>
                    </a:lnTo>
                    <a:lnTo>
                      <a:pt x="1" y="31874"/>
                    </a:lnTo>
                    <a:lnTo>
                      <a:pt x="63" y="33047"/>
                    </a:lnTo>
                    <a:lnTo>
                      <a:pt x="248" y="34221"/>
                    </a:lnTo>
                    <a:lnTo>
                      <a:pt x="557" y="35333"/>
                    </a:lnTo>
                    <a:lnTo>
                      <a:pt x="928" y="36383"/>
                    </a:lnTo>
                    <a:lnTo>
                      <a:pt x="1422" y="37433"/>
                    </a:lnTo>
                    <a:lnTo>
                      <a:pt x="2039" y="38359"/>
                    </a:lnTo>
                    <a:lnTo>
                      <a:pt x="2719" y="39286"/>
                    </a:lnTo>
                    <a:lnTo>
                      <a:pt x="3460" y="40089"/>
                    </a:lnTo>
                    <a:lnTo>
                      <a:pt x="4263" y="40830"/>
                    </a:lnTo>
                    <a:lnTo>
                      <a:pt x="5190" y="41510"/>
                    </a:lnTo>
                    <a:lnTo>
                      <a:pt x="6116" y="42066"/>
                    </a:lnTo>
                    <a:lnTo>
                      <a:pt x="7166" y="42560"/>
                    </a:lnTo>
                    <a:lnTo>
                      <a:pt x="8216" y="42992"/>
                    </a:lnTo>
                    <a:lnTo>
                      <a:pt x="9328" y="43239"/>
                    </a:lnTo>
                    <a:lnTo>
                      <a:pt x="10502" y="43425"/>
                    </a:lnTo>
                    <a:lnTo>
                      <a:pt x="11676" y="43486"/>
                    </a:lnTo>
                    <a:lnTo>
                      <a:pt x="11676" y="43486"/>
                    </a:lnTo>
                    <a:lnTo>
                      <a:pt x="12726" y="43425"/>
                    </a:lnTo>
                    <a:lnTo>
                      <a:pt x="13776" y="43301"/>
                    </a:lnTo>
                    <a:lnTo>
                      <a:pt x="14826" y="43054"/>
                    </a:lnTo>
                    <a:lnTo>
                      <a:pt x="15752" y="42745"/>
                    </a:lnTo>
                    <a:lnTo>
                      <a:pt x="15752" y="42745"/>
                    </a:lnTo>
                    <a:lnTo>
                      <a:pt x="16185" y="43363"/>
                    </a:lnTo>
                    <a:lnTo>
                      <a:pt x="16679" y="43919"/>
                    </a:lnTo>
                    <a:lnTo>
                      <a:pt x="17173" y="44475"/>
                    </a:lnTo>
                    <a:lnTo>
                      <a:pt x="17729" y="45031"/>
                    </a:lnTo>
                    <a:lnTo>
                      <a:pt x="18285" y="45525"/>
                    </a:lnTo>
                    <a:lnTo>
                      <a:pt x="18903" y="45957"/>
                    </a:lnTo>
                    <a:lnTo>
                      <a:pt x="19520" y="46390"/>
                    </a:lnTo>
                    <a:lnTo>
                      <a:pt x="20138" y="46760"/>
                    </a:lnTo>
                    <a:lnTo>
                      <a:pt x="20818" y="47131"/>
                    </a:lnTo>
                    <a:lnTo>
                      <a:pt x="21559" y="47440"/>
                    </a:lnTo>
                    <a:lnTo>
                      <a:pt x="22238" y="47687"/>
                    </a:lnTo>
                    <a:lnTo>
                      <a:pt x="22980" y="47872"/>
                    </a:lnTo>
                    <a:lnTo>
                      <a:pt x="23783" y="48057"/>
                    </a:lnTo>
                    <a:lnTo>
                      <a:pt x="24524" y="48181"/>
                    </a:lnTo>
                    <a:lnTo>
                      <a:pt x="25327" y="48243"/>
                    </a:lnTo>
                    <a:lnTo>
                      <a:pt x="26130" y="48304"/>
                    </a:lnTo>
                    <a:lnTo>
                      <a:pt x="26130" y="48304"/>
                    </a:lnTo>
                    <a:lnTo>
                      <a:pt x="26933" y="48243"/>
                    </a:lnTo>
                    <a:lnTo>
                      <a:pt x="27674" y="48181"/>
                    </a:lnTo>
                    <a:lnTo>
                      <a:pt x="28415" y="48057"/>
                    </a:lnTo>
                    <a:lnTo>
                      <a:pt x="29157" y="47934"/>
                    </a:lnTo>
                    <a:lnTo>
                      <a:pt x="29898" y="47687"/>
                    </a:lnTo>
                    <a:lnTo>
                      <a:pt x="30577" y="47440"/>
                    </a:lnTo>
                    <a:lnTo>
                      <a:pt x="31257" y="47193"/>
                    </a:lnTo>
                    <a:lnTo>
                      <a:pt x="31936" y="46884"/>
                    </a:lnTo>
                    <a:lnTo>
                      <a:pt x="32554" y="46513"/>
                    </a:lnTo>
                    <a:lnTo>
                      <a:pt x="33172" y="46081"/>
                    </a:lnTo>
                    <a:lnTo>
                      <a:pt x="33789" y="45648"/>
                    </a:lnTo>
                    <a:lnTo>
                      <a:pt x="34345" y="45216"/>
                    </a:lnTo>
                    <a:lnTo>
                      <a:pt x="34839" y="44722"/>
                    </a:lnTo>
                    <a:lnTo>
                      <a:pt x="35395" y="44166"/>
                    </a:lnTo>
                    <a:lnTo>
                      <a:pt x="35828" y="43610"/>
                    </a:lnTo>
                    <a:lnTo>
                      <a:pt x="36260" y="42992"/>
                    </a:lnTo>
                    <a:lnTo>
                      <a:pt x="36260" y="42992"/>
                    </a:lnTo>
                    <a:lnTo>
                      <a:pt x="37496" y="43425"/>
                    </a:lnTo>
                    <a:lnTo>
                      <a:pt x="38793" y="43733"/>
                    </a:lnTo>
                    <a:lnTo>
                      <a:pt x="40090" y="43919"/>
                    </a:lnTo>
                    <a:lnTo>
                      <a:pt x="41449" y="43981"/>
                    </a:lnTo>
                    <a:lnTo>
                      <a:pt x="41449" y="43981"/>
                    </a:lnTo>
                    <a:lnTo>
                      <a:pt x="42870" y="43919"/>
                    </a:lnTo>
                    <a:lnTo>
                      <a:pt x="44167" y="43733"/>
                    </a:lnTo>
                    <a:lnTo>
                      <a:pt x="45464" y="43425"/>
                    </a:lnTo>
                    <a:lnTo>
                      <a:pt x="46699" y="42992"/>
                    </a:lnTo>
                    <a:lnTo>
                      <a:pt x="47935" y="42436"/>
                    </a:lnTo>
                    <a:lnTo>
                      <a:pt x="49047" y="41819"/>
                    </a:lnTo>
                    <a:lnTo>
                      <a:pt x="50097" y="41077"/>
                    </a:lnTo>
                    <a:lnTo>
                      <a:pt x="51023" y="40213"/>
                    </a:lnTo>
                    <a:lnTo>
                      <a:pt x="51888" y="39286"/>
                    </a:lnTo>
                    <a:lnTo>
                      <a:pt x="52691" y="38298"/>
                    </a:lnTo>
                    <a:lnTo>
                      <a:pt x="53371" y="37248"/>
                    </a:lnTo>
                    <a:lnTo>
                      <a:pt x="53927" y="36136"/>
                    </a:lnTo>
                    <a:lnTo>
                      <a:pt x="54421" y="34962"/>
                    </a:lnTo>
                    <a:lnTo>
                      <a:pt x="54730" y="33727"/>
                    </a:lnTo>
                    <a:lnTo>
                      <a:pt x="54915" y="32430"/>
                    </a:lnTo>
                    <a:lnTo>
                      <a:pt x="55038" y="31132"/>
                    </a:lnTo>
                    <a:lnTo>
                      <a:pt x="55038" y="31132"/>
                    </a:lnTo>
                    <a:lnTo>
                      <a:pt x="54977" y="30329"/>
                    </a:lnTo>
                    <a:lnTo>
                      <a:pt x="54915" y="29588"/>
                    </a:lnTo>
                    <a:lnTo>
                      <a:pt x="54791" y="28847"/>
                    </a:lnTo>
                    <a:lnTo>
                      <a:pt x="54668" y="28106"/>
                    </a:lnTo>
                    <a:lnTo>
                      <a:pt x="54421" y="27426"/>
                    </a:lnTo>
                    <a:lnTo>
                      <a:pt x="54174" y="26685"/>
                    </a:lnTo>
                    <a:lnTo>
                      <a:pt x="53927" y="26005"/>
                    </a:lnTo>
                    <a:lnTo>
                      <a:pt x="53618" y="25388"/>
                    </a:lnTo>
                    <a:lnTo>
                      <a:pt x="53247" y="24770"/>
                    </a:lnTo>
                    <a:lnTo>
                      <a:pt x="52815" y="24152"/>
                    </a:lnTo>
                    <a:lnTo>
                      <a:pt x="52382" y="23535"/>
                    </a:lnTo>
                    <a:lnTo>
                      <a:pt x="51950" y="22979"/>
                    </a:lnTo>
                    <a:lnTo>
                      <a:pt x="51456" y="22423"/>
                    </a:lnTo>
                    <a:lnTo>
                      <a:pt x="50962" y="21929"/>
                    </a:lnTo>
                    <a:lnTo>
                      <a:pt x="50406" y="21434"/>
                    </a:lnTo>
                    <a:lnTo>
                      <a:pt x="49788" y="2094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0" name="Google Shape;1376;p142">
                <a:extLst>
                  <a:ext uri="{FF2B5EF4-FFF2-40B4-BE49-F238E27FC236}">
                    <a16:creationId xmlns:a16="http://schemas.microsoft.com/office/drawing/2014/main" id="{C470397E-18FB-2F4A-9066-2AF4E33E3A63}"/>
                  </a:ext>
                </a:extLst>
              </p:cNvPr>
              <p:cNvSpPr/>
              <p:nvPr/>
            </p:nvSpPr>
            <p:spPr>
              <a:xfrm>
                <a:off x="11618549" y="2639416"/>
                <a:ext cx="212708" cy="109628"/>
              </a:xfrm>
              <a:custGeom>
                <a:avLst/>
                <a:gdLst/>
                <a:ahLst/>
                <a:cxnLst/>
                <a:rect l="l" t="t" r="r" b="b"/>
                <a:pathLst>
                  <a:path w="18223" h="9390" extrusionOk="0">
                    <a:moveTo>
                      <a:pt x="0" y="0"/>
                    </a:moveTo>
                    <a:lnTo>
                      <a:pt x="247" y="989"/>
                    </a:lnTo>
                    <a:lnTo>
                      <a:pt x="556" y="1915"/>
                    </a:lnTo>
                    <a:lnTo>
                      <a:pt x="927" y="2780"/>
                    </a:lnTo>
                    <a:lnTo>
                      <a:pt x="1359" y="3645"/>
                    </a:lnTo>
                    <a:lnTo>
                      <a:pt x="1915" y="4448"/>
                    </a:lnTo>
                    <a:lnTo>
                      <a:pt x="2471" y="5189"/>
                    </a:lnTo>
                    <a:lnTo>
                      <a:pt x="3089" y="5930"/>
                    </a:lnTo>
                    <a:lnTo>
                      <a:pt x="3830" y="6548"/>
                    </a:lnTo>
                    <a:lnTo>
                      <a:pt x="4571" y="7166"/>
                    </a:lnTo>
                    <a:lnTo>
                      <a:pt x="5374" y="7660"/>
                    </a:lnTo>
                    <a:lnTo>
                      <a:pt x="6177" y="8154"/>
                    </a:lnTo>
                    <a:lnTo>
                      <a:pt x="7104" y="8586"/>
                    </a:lnTo>
                    <a:lnTo>
                      <a:pt x="7968" y="8895"/>
                    </a:lnTo>
                    <a:lnTo>
                      <a:pt x="8957" y="9142"/>
                    </a:lnTo>
                    <a:lnTo>
                      <a:pt x="9945" y="9328"/>
                    </a:lnTo>
                    <a:lnTo>
                      <a:pt x="10933" y="9389"/>
                    </a:lnTo>
                    <a:lnTo>
                      <a:pt x="11489" y="9389"/>
                    </a:lnTo>
                    <a:lnTo>
                      <a:pt x="12539" y="9328"/>
                    </a:lnTo>
                    <a:lnTo>
                      <a:pt x="13528" y="9204"/>
                    </a:lnTo>
                    <a:lnTo>
                      <a:pt x="14578" y="8957"/>
                    </a:lnTo>
                    <a:lnTo>
                      <a:pt x="15504" y="8648"/>
                    </a:lnTo>
                    <a:lnTo>
                      <a:pt x="14948" y="7722"/>
                    </a:lnTo>
                    <a:lnTo>
                      <a:pt x="14454" y="6671"/>
                    </a:lnTo>
                    <a:lnTo>
                      <a:pt x="15504" y="6424"/>
                    </a:lnTo>
                    <a:lnTo>
                      <a:pt x="16493" y="6177"/>
                    </a:lnTo>
                    <a:lnTo>
                      <a:pt x="17172" y="6671"/>
                    </a:lnTo>
                    <a:lnTo>
                      <a:pt x="17913" y="7104"/>
                    </a:lnTo>
                    <a:lnTo>
                      <a:pt x="18161" y="7227"/>
                    </a:lnTo>
                    <a:lnTo>
                      <a:pt x="18222" y="7227"/>
                    </a:lnTo>
                    <a:lnTo>
                      <a:pt x="17728" y="6980"/>
                    </a:lnTo>
                    <a:lnTo>
                      <a:pt x="17234" y="6610"/>
                    </a:lnTo>
                    <a:lnTo>
                      <a:pt x="16802" y="6301"/>
                    </a:lnTo>
                    <a:lnTo>
                      <a:pt x="16431" y="5930"/>
                    </a:lnTo>
                    <a:lnTo>
                      <a:pt x="15443" y="6116"/>
                    </a:lnTo>
                    <a:lnTo>
                      <a:pt x="14454" y="6301"/>
                    </a:lnTo>
                    <a:lnTo>
                      <a:pt x="13466" y="6363"/>
                    </a:lnTo>
                    <a:lnTo>
                      <a:pt x="12478" y="6424"/>
                    </a:lnTo>
                    <a:lnTo>
                      <a:pt x="11057" y="6424"/>
                    </a:lnTo>
                    <a:lnTo>
                      <a:pt x="10130" y="6363"/>
                    </a:lnTo>
                    <a:lnTo>
                      <a:pt x="9204" y="6177"/>
                    </a:lnTo>
                    <a:lnTo>
                      <a:pt x="8339" y="5992"/>
                    </a:lnTo>
                    <a:lnTo>
                      <a:pt x="7412" y="5745"/>
                    </a:lnTo>
                    <a:lnTo>
                      <a:pt x="6609" y="5436"/>
                    </a:lnTo>
                    <a:lnTo>
                      <a:pt x="5745" y="5127"/>
                    </a:lnTo>
                    <a:lnTo>
                      <a:pt x="5003" y="4695"/>
                    </a:lnTo>
                    <a:lnTo>
                      <a:pt x="4200" y="4262"/>
                    </a:lnTo>
                    <a:lnTo>
                      <a:pt x="3459" y="3768"/>
                    </a:lnTo>
                    <a:lnTo>
                      <a:pt x="2780" y="3212"/>
                    </a:lnTo>
                    <a:lnTo>
                      <a:pt x="2162" y="2656"/>
                    </a:lnTo>
                    <a:lnTo>
                      <a:pt x="1544" y="2039"/>
                    </a:lnTo>
                    <a:lnTo>
                      <a:pt x="988" y="1421"/>
                    </a:lnTo>
                    <a:lnTo>
                      <a:pt x="494" y="7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97A91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1" name="Google Shape;1377;p142">
                <a:extLst>
                  <a:ext uri="{FF2B5EF4-FFF2-40B4-BE49-F238E27FC236}">
                    <a16:creationId xmlns:a16="http://schemas.microsoft.com/office/drawing/2014/main" id="{FBBD0E17-6C50-A7EF-DE50-A8FD9D3D2E8E}"/>
                  </a:ext>
                </a:extLst>
              </p:cNvPr>
              <p:cNvSpPr/>
              <p:nvPr/>
            </p:nvSpPr>
            <p:spPr>
              <a:xfrm>
                <a:off x="12004191" y="2750415"/>
                <a:ext cx="30290" cy="28137"/>
              </a:xfrm>
              <a:custGeom>
                <a:avLst/>
                <a:gdLst/>
                <a:ahLst/>
                <a:cxnLst/>
                <a:rect l="l" t="t" r="r" b="b"/>
                <a:pathLst>
                  <a:path w="2595" h="2410" extrusionOk="0">
                    <a:moveTo>
                      <a:pt x="2595" y="1"/>
                    </a:moveTo>
                    <a:lnTo>
                      <a:pt x="2100" y="495"/>
                    </a:lnTo>
                    <a:lnTo>
                      <a:pt x="1668" y="989"/>
                    </a:lnTo>
                    <a:lnTo>
                      <a:pt x="1668" y="989"/>
                    </a:lnTo>
                    <a:lnTo>
                      <a:pt x="2162" y="495"/>
                    </a:lnTo>
                    <a:lnTo>
                      <a:pt x="2595" y="1"/>
                    </a:lnTo>
                    <a:close/>
                    <a:moveTo>
                      <a:pt x="618" y="1916"/>
                    </a:moveTo>
                    <a:lnTo>
                      <a:pt x="309" y="2163"/>
                    </a:lnTo>
                    <a:lnTo>
                      <a:pt x="556" y="1978"/>
                    </a:lnTo>
                    <a:lnTo>
                      <a:pt x="618" y="1916"/>
                    </a:lnTo>
                    <a:close/>
                    <a:moveTo>
                      <a:pt x="309" y="2163"/>
                    </a:moveTo>
                    <a:lnTo>
                      <a:pt x="62" y="2348"/>
                    </a:lnTo>
                    <a:lnTo>
                      <a:pt x="0" y="2410"/>
                    </a:lnTo>
                    <a:lnTo>
                      <a:pt x="0" y="2410"/>
                    </a:lnTo>
                    <a:lnTo>
                      <a:pt x="309" y="2163"/>
                    </a:lnTo>
                    <a:close/>
                  </a:path>
                </a:pathLst>
              </a:custGeom>
              <a:solidFill>
                <a:srgbClr val="B6B3B3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2" name="Google Shape;1378;p142">
                <a:extLst>
                  <a:ext uri="{FF2B5EF4-FFF2-40B4-BE49-F238E27FC236}">
                    <a16:creationId xmlns:a16="http://schemas.microsoft.com/office/drawing/2014/main" id="{C1B692F8-A2FA-B693-07C8-5E91B1A2B157}"/>
                  </a:ext>
                </a:extLst>
              </p:cNvPr>
              <p:cNvSpPr/>
              <p:nvPr/>
            </p:nvSpPr>
            <p:spPr>
              <a:xfrm>
                <a:off x="11920568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3" name="Google Shape;1379;p142">
                <a:extLst>
                  <a:ext uri="{FF2B5EF4-FFF2-40B4-BE49-F238E27FC236}">
                    <a16:creationId xmlns:a16="http://schemas.microsoft.com/office/drawing/2014/main" id="{602C0E65-A770-6C63-98F9-0581BB6C50CC}"/>
                  </a:ext>
                </a:extLst>
              </p:cNvPr>
              <p:cNvSpPr/>
              <p:nvPr/>
            </p:nvSpPr>
            <p:spPr>
              <a:xfrm>
                <a:off x="11920568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4" name="Google Shape;1380;p142">
                <a:extLst>
                  <a:ext uri="{FF2B5EF4-FFF2-40B4-BE49-F238E27FC236}">
                    <a16:creationId xmlns:a16="http://schemas.microsoft.com/office/drawing/2014/main" id="{A4CEAF3E-B9B0-622E-F17D-B7D02E604058}"/>
                  </a:ext>
                </a:extLst>
              </p:cNvPr>
              <p:cNvSpPr/>
              <p:nvPr/>
            </p:nvSpPr>
            <p:spPr>
              <a:xfrm>
                <a:off x="11920568" y="280520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0"/>
                    </a:moveTo>
                    <a:lnTo>
                      <a:pt x="6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5" name="Google Shape;1381;p142">
                <a:extLst>
                  <a:ext uri="{FF2B5EF4-FFF2-40B4-BE49-F238E27FC236}">
                    <a16:creationId xmlns:a16="http://schemas.microsoft.com/office/drawing/2014/main" id="{58CA09CC-D8EF-F8C9-A63D-C1980901C30C}"/>
                  </a:ext>
                </a:extLst>
              </p:cNvPr>
              <p:cNvSpPr/>
              <p:nvPr/>
            </p:nvSpPr>
            <p:spPr>
              <a:xfrm>
                <a:off x="11919856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6" name="Google Shape;1382;p142">
                <a:extLst>
                  <a:ext uri="{FF2B5EF4-FFF2-40B4-BE49-F238E27FC236}">
                    <a16:creationId xmlns:a16="http://schemas.microsoft.com/office/drawing/2014/main" id="{2963E968-DAD3-4BC7-A15A-BEA7B7BABEF2}"/>
                  </a:ext>
                </a:extLst>
              </p:cNvPr>
              <p:cNvSpPr/>
              <p:nvPr/>
            </p:nvSpPr>
            <p:spPr>
              <a:xfrm>
                <a:off x="11921291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7" name="Google Shape;1383;p142">
                <a:extLst>
                  <a:ext uri="{FF2B5EF4-FFF2-40B4-BE49-F238E27FC236}">
                    <a16:creationId xmlns:a16="http://schemas.microsoft.com/office/drawing/2014/main" id="{2A397242-D7D3-F56C-5655-8FF7A09EEA07}"/>
                  </a:ext>
                </a:extLst>
              </p:cNvPr>
              <p:cNvSpPr/>
              <p:nvPr/>
            </p:nvSpPr>
            <p:spPr>
              <a:xfrm>
                <a:off x="11919856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8" name="Google Shape;1384;p142">
                <a:extLst>
                  <a:ext uri="{FF2B5EF4-FFF2-40B4-BE49-F238E27FC236}">
                    <a16:creationId xmlns:a16="http://schemas.microsoft.com/office/drawing/2014/main" id="{FF5E9D27-9C85-F7F2-6545-E5575B26B400}"/>
                  </a:ext>
                </a:extLst>
              </p:cNvPr>
              <p:cNvSpPr/>
              <p:nvPr/>
            </p:nvSpPr>
            <p:spPr>
              <a:xfrm>
                <a:off x="11921291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9" name="Google Shape;1385;p142">
                <a:extLst>
                  <a:ext uri="{FF2B5EF4-FFF2-40B4-BE49-F238E27FC236}">
                    <a16:creationId xmlns:a16="http://schemas.microsoft.com/office/drawing/2014/main" id="{B67E49A2-E5B3-A24E-BE72-7E0DE6E32A0C}"/>
                  </a:ext>
                </a:extLst>
              </p:cNvPr>
              <p:cNvSpPr/>
              <p:nvPr/>
            </p:nvSpPr>
            <p:spPr>
              <a:xfrm>
                <a:off x="11919132" y="280520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0" name="Google Shape;1386;p142">
                <a:extLst>
                  <a:ext uri="{FF2B5EF4-FFF2-40B4-BE49-F238E27FC236}">
                    <a16:creationId xmlns:a16="http://schemas.microsoft.com/office/drawing/2014/main" id="{7E2BD5AE-E8AF-A494-7B27-681E02335028}"/>
                  </a:ext>
                </a:extLst>
              </p:cNvPr>
              <p:cNvSpPr/>
              <p:nvPr/>
            </p:nvSpPr>
            <p:spPr>
              <a:xfrm>
                <a:off x="11922015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1" name="Google Shape;1387;p142">
                <a:extLst>
                  <a:ext uri="{FF2B5EF4-FFF2-40B4-BE49-F238E27FC236}">
                    <a16:creationId xmlns:a16="http://schemas.microsoft.com/office/drawing/2014/main" id="{BADFEE3A-6383-2E9A-16DC-553E4C97DB8C}"/>
                  </a:ext>
                </a:extLst>
              </p:cNvPr>
              <p:cNvSpPr/>
              <p:nvPr/>
            </p:nvSpPr>
            <p:spPr>
              <a:xfrm>
                <a:off x="11919132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2" name="Google Shape;1388;p142">
                <a:extLst>
                  <a:ext uri="{FF2B5EF4-FFF2-40B4-BE49-F238E27FC236}">
                    <a16:creationId xmlns:a16="http://schemas.microsoft.com/office/drawing/2014/main" id="{BADE423E-D378-82AB-358C-277689A09001}"/>
                  </a:ext>
                </a:extLst>
              </p:cNvPr>
              <p:cNvSpPr/>
              <p:nvPr/>
            </p:nvSpPr>
            <p:spPr>
              <a:xfrm>
                <a:off x="11922015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3" name="Google Shape;1389;p142">
                <a:extLst>
                  <a:ext uri="{FF2B5EF4-FFF2-40B4-BE49-F238E27FC236}">
                    <a16:creationId xmlns:a16="http://schemas.microsoft.com/office/drawing/2014/main" id="{20761C10-7931-F979-AF71-C6244F898AD1}"/>
                  </a:ext>
                </a:extLst>
              </p:cNvPr>
              <p:cNvSpPr/>
              <p:nvPr/>
            </p:nvSpPr>
            <p:spPr>
              <a:xfrm>
                <a:off x="11918409" y="280520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4" name="Google Shape;1390;p142">
                <a:extLst>
                  <a:ext uri="{FF2B5EF4-FFF2-40B4-BE49-F238E27FC236}">
                    <a16:creationId xmlns:a16="http://schemas.microsoft.com/office/drawing/2014/main" id="{CE1DACA6-8A8E-2DEB-BAE2-272A613656C0}"/>
                  </a:ext>
                </a:extLst>
              </p:cNvPr>
              <p:cNvSpPr/>
              <p:nvPr/>
            </p:nvSpPr>
            <p:spPr>
              <a:xfrm>
                <a:off x="11918409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5" name="Google Shape;1391;p142">
                <a:extLst>
                  <a:ext uri="{FF2B5EF4-FFF2-40B4-BE49-F238E27FC236}">
                    <a16:creationId xmlns:a16="http://schemas.microsoft.com/office/drawing/2014/main" id="{458228B3-34AE-0A04-FB45-FA51056CB223}"/>
                  </a:ext>
                </a:extLst>
              </p:cNvPr>
              <p:cNvSpPr/>
              <p:nvPr/>
            </p:nvSpPr>
            <p:spPr>
              <a:xfrm>
                <a:off x="11918409" y="280520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6" name="Google Shape;1392;p142">
                <a:extLst>
                  <a:ext uri="{FF2B5EF4-FFF2-40B4-BE49-F238E27FC236}">
                    <a16:creationId xmlns:a16="http://schemas.microsoft.com/office/drawing/2014/main" id="{76FA6403-153C-36C7-D08E-9D58AE115439}"/>
                  </a:ext>
                </a:extLst>
              </p:cNvPr>
              <p:cNvSpPr/>
              <p:nvPr/>
            </p:nvSpPr>
            <p:spPr>
              <a:xfrm>
                <a:off x="11916962" y="2805202"/>
                <a:ext cx="1459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25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7" name="Google Shape;1393;p142">
                <a:extLst>
                  <a:ext uri="{FF2B5EF4-FFF2-40B4-BE49-F238E27FC236}">
                    <a16:creationId xmlns:a16="http://schemas.microsoft.com/office/drawing/2014/main" id="{CE5F5A12-58D8-F541-3FD3-996C687F7F81}"/>
                  </a:ext>
                </a:extLst>
              </p:cNvPr>
              <p:cNvSpPr/>
              <p:nvPr/>
            </p:nvSpPr>
            <p:spPr>
              <a:xfrm>
                <a:off x="11884532" y="2800872"/>
                <a:ext cx="16598" cy="2895"/>
              </a:xfrm>
              <a:custGeom>
                <a:avLst/>
                <a:gdLst/>
                <a:ahLst/>
                <a:cxnLst/>
                <a:rect l="l" t="t" r="r" b="b"/>
                <a:pathLst>
                  <a:path w="1422" h="248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80" y="124"/>
                    </a:lnTo>
                    <a:lnTo>
                      <a:pt x="1421" y="248"/>
                    </a:lnTo>
                    <a:lnTo>
                      <a:pt x="1421" y="248"/>
                    </a:lnTo>
                    <a:lnTo>
                      <a:pt x="1421" y="248"/>
                    </a:lnTo>
                    <a:lnTo>
                      <a:pt x="680" y="124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8" name="Google Shape;1394;p142">
                <a:extLst>
                  <a:ext uri="{FF2B5EF4-FFF2-40B4-BE49-F238E27FC236}">
                    <a16:creationId xmlns:a16="http://schemas.microsoft.com/office/drawing/2014/main" id="{DAFB4966-5EEB-DFE4-CA8A-265F1C6D0BF9}"/>
                  </a:ext>
                </a:extLst>
              </p:cNvPr>
              <p:cNvSpPr/>
              <p:nvPr/>
            </p:nvSpPr>
            <p:spPr>
              <a:xfrm>
                <a:off x="11922015" y="2800161"/>
                <a:ext cx="35344" cy="5055"/>
              </a:xfrm>
              <a:custGeom>
                <a:avLst/>
                <a:gdLst/>
                <a:ahLst/>
                <a:cxnLst/>
                <a:rect l="l" t="t" r="r" b="b"/>
                <a:pathLst>
                  <a:path w="3028" h="433" fill="none" extrusionOk="0">
                    <a:moveTo>
                      <a:pt x="3027" y="0"/>
                    </a:moveTo>
                    <a:lnTo>
                      <a:pt x="3027" y="0"/>
                    </a:lnTo>
                    <a:lnTo>
                      <a:pt x="2286" y="185"/>
                    </a:lnTo>
                    <a:lnTo>
                      <a:pt x="1545" y="309"/>
                    </a:lnTo>
                    <a:lnTo>
                      <a:pt x="803" y="371"/>
                    </a:lnTo>
                    <a:lnTo>
                      <a:pt x="0" y="432"/>
                    </a:lnTo>
                    <a:lnTo>
                      <a:pt x="0" y="432"/>
                    </a:lnTo>
                    <a:lnTo>
                      <a:pt x="803" y="371"/>
                    </a:lnTo>
                    <a:lnTo>
                      <a:pt x="1545" y="309"/>
                    </a:lnTo>
                    <a:lnTo>
                      <a:pt x="2286" y="185"/>
                    </a:lnTo>
                    <a:lnTo>
                      <a:pt x="3027" y="0"/>
                    </a:lnTo>
                    <a:lnTo>
                      <a:pt x="3027" y="0"/>
                    </a:lnTo>
                    <a:lnTo>
                      <a:pt x="30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9" name="Google Shape;1395;p142">
                <a:extLst>
                  <a:ext uri="{FF2B5EF4-FFF2-40B4-BE49-F238E27FC236}">
                    <a16:creationId xmlns:a16="http://schemas.microsoft.com/office/drawing/2014/main" id="{D8C01B94-CB4C-3E28-9EEC-14678D9B51B5}"/>
                  </a:ext>
                </a:extLst>
              </p:cNvPr>
              <p:cNvSpPr/>
              <p:nvPr/>
            </p:nvSpPr>
            <p:spPr>
              <a:xfrm>
                <a:off x="12004191" y="2772761"/>
                <a:ext cx="7214" cy="5779"/>
              </a:xfrm>
              <a:custGeom>
                <a:avLst/>
                <a:gdLst/>
                <a:ahLst/>
                <a:cxnLst/>
                <a:rect l="l" t="t" r="r" b="b"/>
                <a:pathLst>
                  <a:path w="618" h="495" fill="none" extrusionOk="0">
                    <a:moveTo>
                      <a:pt x="618" y="1"/>
                    </a:moveTo>
                    <a:lnTo>
                      <a:pt x="618" y="1"/>
                    </a:lnTo>
                    <a:lnTo>
                      <a:pt x="556" y="63"/>
                    </a:lnTo>
                    <a:lnTo>
                      <a:pt x="556" y="63"/>
                    </a:lnTo>
                    <a:lnTo>
                      <a:pt x="62" y="433"/>
                    </a:lnTo>
                    <a:lnTo>
                      <a:pt x="62" y="433"/>
                    </a:lnTo>
                    <a:lnTo>
                      <a:pt x="0" y="495"/>
                    </a:lnTo>
                    <a:lnTo>
                      <a:pt x="0" y="495"/>
                    </a:lnTo>
                    <a:lnTo>
                      <a:pt x="618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0" name="Google Shape;1396;p142">
                <a:extLst>
                  <a:ext uri="{FF2B5EF4-FFF2-40B4-BE49-F238E27FC236}">
                    <a16:creationId xmlns:a16="http://schemas.microsoft.com/office/drawing/2014/main" id="{6F984403-B49A-C2C0-7097-FD548713CFE3}"/>
                  </a:ext>
                </a:extLst>
              </p:cNvPr>
              <p:cNvSpPr/>
              <p:nvPr/>
            </p:nvSpPr>
            <p:spPr>
              <a:xfrm>
                <a:off x="12017880" y="2743926"/>
                <a:ext cx="20929" cy="23817"/>
              </a:xfrm>
              <a:custGeom>
                <a:avLst/>
                <a:gdLst/>
                <a:ahLst/>
                <a:cxnLst/>
                <a:rect l="l" t="t" r="r" b="b"/>
                <a:pathLst>
                  <a:path w="1793" h="2040" fill="none" extrusionOk="0">
                    <a:moveTo>
                      <a:pt x="1792" y="1"/>
                    </a:moveTo>
                    <a:lnTo>
                      <a:pt x="1792" y="1"/>
                    </a:lnTo>
                    <a:lnTo>
                      <a:pt x="1422" y="557"/>
                    </a:lnTo>
                    <a:lnTo>
                      <a:pt x="927" y="1051"/>
                    </a:lnTo>
                    <a:lnTo>
                      <a:pt x="495" y="1545"/>
                    </a:lnTo>
                    <a:lnTo>
                      <a:pt x="1" y="2039"/>
                    </a:lnTo>
                    <a:lnTo>
                      <a:pt x="1" y="2039"/>
                    </a:lnTo>
                    <a:lnTo>
                      <a:pt x="1" y="2039"/>
                    </a:lnTo>
                    <a:lnTo>
                      <a:pt x="1" y="2039"/>
                    </a:lnTo>
                    <a:lnTo>
                      <a:pt x="495" y="1545"/>
                    </a:lnTo>
                    <a:lnTo>
                      <a:pt x="989" y="1051"/>
                    </a:lnTo>
                    <a:lnTo>
                      <a:pt x="1422" y="557"/>
                    </a:lnTo>
                    <a:lnTo>
                      <a:pt x="1792" y="1"/>
                    </a:lnTo>
                    <a:lnTo>
                      <a:pt x="1792" y="1"/>
                    </a:lnTo>
                    <a:lnTo>
                      <a:pt x="179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1" name="Google Shape;1397;p142">
                <a:extLst>
                  <a:ext uri="{FF2B5EF4-FFF2-40B4-BE49-F238E27FC236}">
                    <a16:creationId xmlns:a16="http://schemas.microsoft.com/office/drawing/2014/main" id="{AB992EEF-E893-ED56-C150-B3D1A3339287}"/>
                  </a:ext>
                </a:extLst>
              </p:cNvPr>
              <p:cNvSpPr/>
              <p:nvPr/>
            </p:nvSpPr>
            <p:spPr>
              <a:xfrm>
                <a:off x="11799473" y="2740332"/>
                <a:ext cx="59133" cy="51207"/>
              </a:xfrm>
              <a:custGeom>
                <a:avLst/>
                <a:gdLst/>
                <a:ahLst/>
                <a:cxnLst/>
                <a:rect l="l" t="t" r="r" b="b"/>
                <a:pathLst>
                  <a:path w="5066" h="4386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95" y="680"/>
                    </a:lnTo>
                    <a:lnTo>
                      <a:pt x="1051" y="1359"/>
                    </a:lnTo>
                    <a:lnTo>
                      <a:pt x="1606" y="1977"/>
                    </a:lnTo>
                    <a:lnTo>
                      <a:pt x="2224" y="2533"/>
                    </a:lnTo>
                    <a:lnTo>
                      <a:pt x="2904" y="3089"/>
                    </a:lnTo>
                    <a:lnTo>
                      <a:pt x="3583" y="3521"/>
                    </a:lnTo>
                    <a:lnTo>
                      <a:pt x="4324" y="4015"/>
                    </a:lnTo>
                    <a:lnTo>
                      <a:pt x="5066" y="4386"/>
                    </a:lnTo>
                    <a:lnTo>
                      <a:pt x="5066" y="4386"/>
                    </a:lnTo>
                    <a:lnTo>
                      <a:pt x="5066" y="4386"/>
                    </a:lnTo>
                    <a:lnTo>
                      <a:pt x="5066" y="4386"/>
                    </a:lnTo>
                    <a:lnTo>
                      <a:pt x="4324" y="4015"/>
                    </a:lnTo>
                    <a:lnTo>
                      <a:pt x="3583" y="3521"/>
                    </a:lnTo>
                    <a:lnTo>
                      <a:pt x="2904" y="3089"/>
                    </a:lnTo>
                    <a:lnTo>
                      <a:pt x="2224" y="2533"/>
                    </a:lnTo>
                    <a:lnTo>
                      <a:pt x="1606" y="1977"/>
                    </a:lnTo>
                    <a:lnTo>
                      <a:pt x="1051" y="1359"/>
                    </a:lnTo>
                    <a:lnTo>
                      <a:pt x="495" y="68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2" name="Google Shape;1398;p142">
                <a:extLst>
                  <a:ext uri="{FF2B5EF4-FFF2-40B4-BE49-F238E27FC236}">
                    <a16:creationId xmlns:a16="http://schemas.microsoft.com/office/drawing/2014/main" id="{3691DC0E-78CC-72E2-4859-2D0F451DAF17}"/>
                  </a:ext>
                </a:extLst>
              </p:cNvPr>
              <p:cNvSpPr/>
              <p:nvPr/>
            </p:nvSpPr>
            <p:spPr>
              <a:xfrm>
                <a:off x="11969591" y="2767720"/>
                <a:ext cx="48312" cy="28861"/>
              </a:xfrm>
              <a:custGeom>
                <a:avLst/>
                <a:gdLst/>
                <a:ahLst/>
                <a:cxnLst/>
                <a:rect l="l" t="t" r="r" b="b"/>
                <a:pathLst>
                  <a:path w="4139" h="2472" extrusionOk="0">
                    <a:moveTo>
                      <a:pt x="4139" y="0"/>
                    </a:moveTo>
                    <a:lnTo>
                      <a:pt x="3583" y="433"/>
                    </a:lnTo>
                    <a:lnTo>
                      <a:pt x="3521" y="495"/>
                    </a:lnTo>
                    <a:lnTo>
                      <a:pt x="3521" y="495"/>
                    </a:lnTo>
                    <a:lnTo>
                      <a:pt x="4139" y="0"/>
                    </a:lnTo>
                    <a:close/>
                    <a:moveTo>
                      <a:pt x="3027" y="865"/>
                    </a:moveTo>
                    <a:lnTo>
                      <a:pt x="2286" y="1359"/>
                    </a:lnTo>
                    <a:lnTo>
                      <a:pt x="1544" y="1792"/>
                    </a:lnTo>
                    <a:lnTo>
                      <a:pt x="2224" y="1421"/>
                    </a:lnTo>
                    <a:lnTo>
                      <a:pt x="2965" y="927"/>
                    </a:lnTo>
                    <a:lnTo>
                      <a:pt x="3027" y="865"/>
                    </a:lnTo>
                    <a:close/>
                    <a:moveTo>
                      <a:pt x="1544" y="1792"/>
                    </a:moveTo>
                    <a:lnTo>
                      <a:pt x="741" y="2162"/>
                    </a:lnTo>
                    <a:lnTo>
                      <a:pt x="0" y="2471"/>
                    </a:lnTo>
                    <a:lnTo>
                      <a:pt x="803" y="2162"/>
                    </a:lnTo>
                    <a:lnTo>
                      <a:pt x="1544" y="1792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3" name="Google Shape;1399;p142">
                <a:extLst>
                  <a:ext uri="{FF2B5EF4-FFF2-40B4-BE49-F238E27FC236}">
                    <a16:creationId xmlns:a16="http://schemas.microsoft.com/office/drawing/2014/main" id="{C4BEF907-CED4-0093-0E02-B4AE4AA7CBFE}"/>
                  </a:ext>
                </a:extLst>
              </p:cNvPr>
              <p:cNvSpPr/>
              <p:nvPr/>
            </p:nvSpPr>
            <p:spPr>
              <a:xfrm>
                <a:off x="11969591" y="2777814"/>
                <a:ext cx="35333" cy="18762"/>
              </a:xfrm>
              <a:custGeom>
                <a:avLst/>
                <a:gdLst/>
                <a:ahLst/>
                <a:cxnLst/>
                <a:rect l="l" t="t" r="r" b="b"/>
                <a:pathLst>
                  <a:path w="3027" h="1607" fill="none" extrusionOk="0">
                    <a:moveTo>
                      <a:pt x="3027" y="0"/>
                    </a:moveTo>
                    <a:lnTo>
                      <a:pt x="3027" y="0"/>
                    </a:lnTo>
                    <a:lnTo>
                      <a:pt x="2286" y="494"/>
                    </a:lnTo>
                    <a:lnTo>
                      <a:pt x="1544" y="927"/>
                    </a:lnTo>
                    <a:lnTo>
                      <a:pt x="803" y="1297"/>
                    </a:lnTo>
                    <a:lnTo>
                      <a:pt x="0" y="1606"/>
                    </a:lnTo>
                    <a:lnTo>
                      <a:pt x="0" y="1606"/>
                    </a:lnTo>
                    <a:lnTo>
                      <a:pt x="0" y="1606"/>
                    </a:lnTo>
                    <a:lnTo>
                      <a:pt x="741" y="1297"/>
                    </a:lnTo>
                    <a:lnTo>
                      <a:pt x="1544" y="927"/>
                    </a:lnTo>
                    <a:lnTo>
                      <a:pt x="2224" y="556"/>
                    </a:lnTo>
                    <a:lnTo>
                      <a:pt x="2965" y="62"/>
                    </a:lnTo>
                    <a:lnTo>
                      <a:pt x="2965" y="62"/>
                    </a:lnTo>
                    <a:lnTo>
                      <a:pt x="302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4" name="Google Shape;1400;p142">
                <a:extLst>
                  <a:ext uri="{FF2B5EF4-FFF2-40B4-BE49-F238E27FC236}">
                    <a16:creationId xmlns:a16="http://schemas.microsoft.com/office/drawing/2014/main" id="{6EB69BBE-80F4-CB8C-834A-E2A80C1844CB}"/>
                  </a:ext>
                </a:extLst>
              </p:cNvPr>
              <p:cNvSpPr/>
              <p:nvPr/>
            </p:nvSpPr>
            <p:spPr>
              <a:xfrm>
                <a:off x="12010680" y="2767720"/>
                <a:ext cx="7214" cy="5779"/>
              </a:xfrm>
              <a:custGeom>
                <a:avLst/>
                <a:gdLst/>
                <a:ahLst/>
                <a:cxnLst/>
                <a:rect l="l" t="t" r="r" b="b"/>
                <a:pathLst>
                  <a:path w="618" h="495" fill="none" extrusionOk="0">
                    <a:moveTo>
                      <a:pt x="618" y="0"/>
                    </a:moveTo>
                    <a:lnTo>
                      <a:pt x="618" y="0"/>
                    </a:lnTo>
                    <a:lnTo>
                      <a:pt x="618" y="0"/>
                    </a:lnTo>
                    <a:lnTo>
                      <a:pt x="618" y="0"/>
                    </a:lnTo>
                    <a:lnTo>
                      <a:pt x="0" y="495"/>
                    </a:lnTo>
                    <a:lnTo>
                      <a:pt x="0" y="495"/>
                    </a:lnTo>
                    <a:lnTo>
                      <a:pt x="62" y="433"/>
                    </a:lnTo>
                    <a:lnTo>
                      <a:pt x="62" y="433"/>
                    </a:lnTo>
                    <a:lnTo>
                      <a:pt x="618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5" name="Google Shape;1401;p142">
                <a:extLst>
                  <a:ext uri="{FF2B5EF4-FFF2-40B4-BE49-F238E27FC236}">
                    <a16:creationId xmlns:a16="http://schemas.microsoft.com/office/drawing/2014/main" id="{FA1C352D-8854-DDE6-24EF-D6798993C21B}"/>
                  </a:ext>
                </a:extLst>
              </p:cNvPr>
              <p:cNvSpPr/>
              <p:nvPr/>
            </p:nvSpPr>
            <p:spPr>
              <a:xfrm>
                <a:off x="11901114" y="2803755"/>
                <a:ext cx="15863" cy="1459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125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680" y="63"/>
                    </a:lnTo>
                    <a:lnTo>
                      <a:pt x="1359" y="124"/>
                    </a:lnTo>
                    <a:lnTo>
                      <a:pt x="1359" y="124"/>
                    </a:lnTo>
                    <a:lnTo>
                      <a:pt x="1359" y="124"/>
                    </a:lnTo>
                    <a:lnTo>
                      <a:pt x="680" y="63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6" name="Google Shape;1402;p142">
                <a:extLst>
                  <a:ext uri="{FF2B5EF4-FFF2-40B4-BE49-F238E27FC236}">
                    <a16:creationId xmlns:a16="http://schemas.microsoft.com/office/drawing/2014/main" id="{52CE1C63-6260-BD83-2E34-9FF934821E53}"/>
                  </a:ext>
                </a:extLst>
              </p:cNvPr>
              <p:cNvSpPr/>
              <p:nvPr/>
            </p:nvSpPr>
            <p:spPr>
              <a:xfrm>
                <a:off x="11901114" y="2803755"/>
                <a:ext cx="15863" cy="1459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125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680" y="63"/>
                    </a:lnTo>
                    <a:lnTo>
                      <a:pt x="1359" y="124"/>
                    </a:lnTo>
                    <a:lnTo>
                      <a:pt x="1359" y="124"/>
                    </a:lnTo>
                    <a:lnTo>
                      <a:pt x="1359" y="124"/>
                    </a:lnTo>
                    <a:lnTo>
                      <a:pt x="680" y="63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7" name="Google Shape;1403;p142">
                <a:extLst>
                  <a:ext uri="{FF2B5EF4-FFF2-40B4-BE49-F238E27FC236}">
                    <a16:creationId xmlns:a16="http://schemas.microsoft.com/office/drawing/2014/main" id="{64807B9D-CF21-1A4C-C121-89B6CCAC4B0C}"/>
                  </a:ext>
                </a:extLst>
              </p:cNvPr>
              <p:cNvSpPr/>
              <p:nvPr/>
            </p:nvSpPr>
            <p:spPr>
              <a:xfrm>
                <a:off x="11957338" y="2796555"/>
                <a:ext cx="12268" cy="3619"/>
              </a:xfrm>
              <a:custGeom>
                <a:avLst/>
                <a:gdLst/>
                <a:ahLst/>
                <a:cxnLst/>
                <a:rect l="l" t="t" r="r" b="b"/>
                <a:pathLst>
                  <a:path w="1051" h="310" extrusionOk="0">
                    <a:moveTo>
                      <a:pt x="1050" y="0"/>
                    </a:moveTo>
                    <a:lnTo>
                      <a:pt x="1050" y="0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1050" y="0"/>
                    </a:lnTo>
                    <a:lnTo>
                      <a:pt x="1050" y="0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8" name="Google Shape;1404;p142">
                <a:extLst>
                  <a:ext uri="{FF2B5EF4-FFF2-40B4-BE49-F238E27FC236}">
                    <a16:creationId xmlns:a16="http://schemas.microsoft.com/office/drawing/2014/main" id="{A12411E3-9A7A-08BD-2953-8583C73AE30F}"/>
                  </a:ext>
                </a:extLst>
              </p:cNvPr>
              <p:cNvSpPr/>
              <p:nvPr/>
            </p:nvSpPr>
            <p:spPr>
              <a:xfrm>
                <a:off x="11957338" y="2796555"/>
                <a:ext cx="12268" cy="3619"/>
              </a:xfrm>
              <a:custGeom>
                <a:avLst/>
                <a:gdLst/>
                <a:ahLst/>
                <a:cxnLst/>
                <a:rect l="l" t="t" r="r" b="b"/>
                <a:pathLst>
                  <a:path w="1051" h="310" fill="none" extrusionOk="0">
                    <a:moveTo>
                      <a:pt x="1050" y="0"/>
                    </a:moveTo>
                    <a:lnTo>
                      <a:pt x="1050" y="0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0" y="309"/>
                    </a:lnTo>
                    <a:lnTo>
                      <a:pt x="1050" y="0"/>
                    </a:lnTo>
                    <a:lnTo>
                      <a:pt x="105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9" name="Google Shape;1405;p142">
                <a:extLst>
                  <a:ext uri="{FF2B5EF4-FFF2-40B4-BE49-F238E27FC236}">
                    <a16:creationId xmlns:a16="http://schemas.microsoft.com/office/drawing/2014/main" id="{FABEEB63-C851-D8AF-B616-BEFAAADE4BFC}"/>
                  </a:ext>
                </a:extLst>
              </p:cNvPr>
              <p:cNvSpPr/>
              <p:nvPr/>
            </p:nvSpPr>
            <p:spPr>
              <a:xfrm>
                <a:off x="11858579" y="2791502"/>
                <a:ext cx="25971" cy="9387"/>
              </a:xfrm>
              <a:custGeom>
                <a:avLst/>
                <a:gdLst/>
                <a:ahLst/>
                <a:cxnLst/>
                <a:rect l="l" t="t" r="r" b="b"/>
                <a:pathLst>
                  <a:path w="2225" h="804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112" y="433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1112" y="43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0" name="Google Shape;1406;p142">
                <a:extLst>
                  <a:ext uri="{FF2B5EF4-FFF2-40B4-BE49-F238E27FC236}">
                    <a16:creationId xmlns:a16="http://schemas.microsoft.com/office/drawing/2014/main" id="{94EED871-81DD-D3F4-FF39-9CCBBF7D7B49}"/>
                  </a:ext>
                </a:extLst>
              </p:cNvPr>
              <p:cNvSpPr/>
              <p:nvPr/>
            </p:nvSpPr>
            <p:spPr>
              <a:xfrm>
                <a:off x="11858579" y="2791502"/>
                <a:ext cx="25971" cy="9387"/>
              </a:xfrm>
              <a:custGeom>
                <a:avLst/>
                <a:gdLst/>
                <a:ahLst/>
                <a:cxnLst/>
                <a:rect l="l" t="t" r="r" b="b"/>
                <a:pathLst>
                  <a:path w="2225" h="804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112" y="433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2224" y="804"/>
                    </a:lnTo>
                    <a:lnTo>
                      <a:pt x="1112" y="433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1" name="Google Shape;1407;p142">
                <a:extLst>
                  <a:ext uri="{FF2B5EF4-FFF2-40B4-BE49-F238E27FC236}">
                    <a16:creationId xmlns:a16="http://schemas.microsoft.com/office/drawing/2014/main" id="{08C96C08-CB14-FAC1-DEFA-549EF9CF8680}"/>
                  </a:ext>
                </a:extLst>
              </p:cNvPr>
              <p:cNvSpPr/>
              <p:nvPr/>
            </p:nvSpPr>
            <p:spPr>
              <a:xfrm>
                <a:off x="11787220" y="2694915"/>
                <a:ext cx="274000" cy="110352"/>
              </a:xfrm>
              <a:custGeom>
                <a:avLst/>
                <a:gdLst/>
                <a:ahLst/>
                <a:cxnLst/>
                <a:rect l="l" t="t" r="r" b="b"/>
                <a:pathLst>
                  <a:path w="23474" h="9452" extrusionOk="0">
                    <a:moveTo>
                      <a:pt x="23473" y="1"/>
                    </a:moveTo>
                    <a:lnTo>
                      <a:pt x="22670" y="680"/>
                    </a:lnTo>
                    <a:lnTo>
                      <a:pt x="21805" y="1298"/>
                    </a:lnTo>
                    <a:lnTo>
                      <a:pt x="20940" y="1792"/>
                    </a:lnTo>
                    <a:lnTo>
                      <a:pt x="20014" y="2286"/>
                    </a:lnTo>
                    <a:lnTo>
                      <a:pt x="19026" y="2719"/>
                    </a:lnTo>
                    <a:lnTo>
                      <a:pt x="18037" y="3089"/>
                    </a:lnTo>
                    <a:lnTo>
                      <a:pt x="17049" y="3336"/>
                    </a:lnTo>
                    <a:lnTo>
                      <a:pt x="16061" y="3583"/>
                    </a:lnTo>
                    <a:lnTo>
                      <a:pt x="14825" y="3830"/>
                    </a:lnTo>
                    <a:lnTo>
                      <a:pt x="13528" y="3954"/>
                    </a:lnTo>
                    <a:lnTo>
                      <a:pt x="12231" y="4077"/>
                    </a:lnTo>
                    <a:lnTo>
                      <a:pt x="10934" y="4139"/>
                    </a:lnTo>
                    <a:lnTo>
                      <a:pt x="10007" y="4077"/>
                    </a:lnTo>
                    <a:lnTo>
                      <a:pt x="9081" y="4016"/>
                    </a:lnTo>
                    <a:lnTo>
                      <a:pt x="8154" y="3892"/>
                    </a:lnTo>
                    <a:lnTo>
                      <a:pt x="7227" y="3769"/>
                    </a:lnTo>
                    <a:lnTo>
                      <a:pt x="6301" y="3522"/>
                    </a:lnTo>
                    <a:lnTo>
                      <a:pt x="5436" y="3213"/>
                    </a:lnTo>
                    <a:lnTo>
                      <a:pt x="4571" y="2904"/>
                    </a:lnTo>
                    <a:lnTo>
                      <a:pt x="3707" y="2471"/>
                    </a:lnTo>
                    <a:lnTo>
                      <a:pt x="3459" y="2348"/>
                    </a:lnTo>
                    <a:lnTo>
                      <a:pt x="2718" y="1915"/>
                    </a:lnTo>
                    <a:lnTo>
                      <a:pt x="2039" y="1421"/>
                    </a:lnTo>
                    <a:lnTo>
                      <a:pt x="1050" y="1668"/>
                    </a:lnTo>
                    <a:lnTo>
                      <a:pt x="0" y="1915"/>
                    </a:lnTo>
                    <a:lnTo>
                      <a:pt x="494" y="2966"/>
                    </a:lnTo>
                    <a:lnTo>
                      <a:pt x="1050" y="3892"/>
                    </a:lnTo>
                    <a:lnTo>
                      <a:pt x="1545" y="4572"/>
                    </a:lnTo>
                    <a:lnTo>
                      <a:pt x="2101" y="5251"/>
                    </a:lnTo>
                    <a:lnTo>
                      <a:pt x="2656" y="5869"/>
                    </a:lnTo>
                    <a:lnTo>
                      <a:pt x="3274" y="6425"/>
                    </a:lnTo>
                    <a:lnTo>
                      <a:pt x="3954" y="6981"/>
                    </a:lnTo>
                    <a:lnTo>
                      <a:pt x="4633" y="7413"/>
                    </a:lnTo>
                    <a:lnTo>
                      <a:pt x="5374" y="7907"/>
                    </a:lnTo>
                    <a:lnTo>
                      <a:pt x="6116" y="8278"/>
                    </a:lnTo>
                    <a:lnTo>
                      <a:pt x="7227" y="8710"/>
                    </a:lnTo>
                    <a:lnTo>
                      <a:pt x="8339" y="9081"/>
                    </a:lnTo>
                    <a:lnTo>
                      <a:pt x="9019" y="9204"/>
                    </a:lnTo>
                    <a:lnTo>
                      <a:pt x="9760" y="9328"/>
                    </a:lnTo>
                    <a:lnTo>
                      <a:pt x="10440" y="9390"/>
                    </a:lnTo>
                    <a:lnTo>
                      <a:pt x="11119" y="9451"/>
                    </a:lnTo>
                    <a:lnTo>
                      <a:pt x="11551" y="9451"/>
                    </a:lnTo>
                    <a:lnTo>
                      <a:pt x="12354" y="9390"/>
                    </a:lnTo>
                    <a:lnTo>
                      <a:pt x="13096" y="9328"/>
                    </a:lnTo>
                    <a:lnTo>
                      <a:pt x="13837" y="9204"/>
                    </a:lnTo>
                    <a:lnTo>
                      <a:pt x="14578" y="9019"/>
                    </a:lnTo>
                    <a:lnTo>
                      <a:pt x="15628" y="8710"/>
                    </a:lnTo>
                    <a:lnTo>
                      <a:pt x="16431" y="8401"/>
                    </a:lnTo>
                    <a:lnTo>
                      <a:pt x="17172" y="8031"/>
                    </a:lnTo>
                    <a:lnTo>
                      <a:pt x="17914" y="7598"/>
                    </a:lnTo>
                    <a:lnTo>
                      <a:pt x="18655" y="7104"/>
                    </a:lnTo>
                    <a:lnTo>
                      <a:pt x="19149" y="6734"/>
                    </a:lnTo>
                    <a:lnTo>
                      <a:pt x="19767" y="6239"/>
                    </a:lnTo>
                    <a:lnTo>
                      <a:pt x="20261" y="5745"/>
                    </a:lnTo>
                    <a:lnTo>
                      <a:pt x="20693" y="5251"/>
                    </a:lnTo>
                    <a:lnTo>
                      <a:pt x="21188" y="4757"/>
                    </a:lnTo>
                    <a:lnTo>
                      <a:pt x="21558" y="4201"/>
                    </a:lnTo>
                    <a:lnTo>
                      <a:pt x="20632" y="3769"/>
                    </a:lnTo>
                    <a:lnTo>
                      <a:pt x="19705" y="3274"/>
                    </a:lnTo>
                    <a:lnTo>
                      <a:pt x="20632" y="2966"/>
                    </a:lnTo>
                    <a:lnTo>
                      <a:pt x="21435" y="2533"/>
                    </a:lnTo>
                    <a:lnTo>
                      <a:pt x="22238" y="2039"/>
                    </a:lnTo>
                    <a:lnTo>
                      <a:pt x="22855" y="1421"/>
                    </a:lnTo>
                    <a:lnTo>
                      <a:pt x="23041" y="1112"/>
                    </a:lnTo>
                    <a:lnTo>
                      <a:pt x="23164" y="742"/>
                    </a:lnTo>
                    <a:lnTo>
                      <a:pt x="23350" y="371"/>
                    </a:lnTo>
                    <a:lnTo>
                      <a:pt x="23473" y="62"/>
                    </a:lnTo>
                    <a:lnTo>
                      <a:pt x="23473" y="1"/>
                    </a:lnTo>
                    <a:close/>
                  </a:path>
                </a:pathLst>
              </a:custGeom>
              <a:solidFill>
                <a:srgbClr val="697A91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2" name="Google Shape;1408;p142">
                <a:extLst>
                  <a:ext uri="{FF2B5EF4-FFF2-40B4-BE49-F238E27FC236}">
                    <a16:creationId xmlns:a16="http://schemas.microsoft.com/office/drawing/2014/main" id="{2A0B9EA9-230A-06CC-1F2B-89A3023C8BDE}"/>
                  </a:ext>
                </a:extLst>
              </p:cNvPr>
              <p:cNvSpPr/>
              <p:nvPr/>
            </p:nvSpPr>
            <p:spPr>
              <a:xfrm>
                <a:off x="11787220" y="2694915"/>
                <a:ext cx="274000" cy="110352"/>
              </a:xfrm>
              <a:custGeom>
                <a:avLst/>
                <a:gdLst/>
                <a:ahLst/>
                <a:cxnLst/>
                <a:rect l="l" t="t" r="r" b="b"/>
                <a:pathLst>
                  <a:path w="23474" h="9452" fill="none" extrusionOk="0">
                    <a:moveTo>
                      <a:pt x="23473" y="1"/>
                    </a:moveTo>
                    <a:lnTo>
                      <a:pt x="23473" y="1"/>
                    </a:lnTo>
                    <a:lnTo>
                      <a:pt x="22670" y="680"/>
                    </a:lnTo>
                    <a:lnTo>
                      <a:pt x="21805" y="1298"/>
                    </a:lnTo>
                    <a:lnTo>
                      <a:pt x="20940" y="1792"/>
                    </a:lnTo>
                    <a:lnTo>
                      <a:pt x="20014" y="2286"/>
                    </a:lnTo>
                    <a:lnTo>
                      <a:pt x="19026" y="2719"/>
                    </a:lnTo>
                    <a:lnTo>
                      <a:pt x="18037" y="3089"/>
                    </a:lnTo>
                    <a:lnTo>
                      <a:pt x="17049" y="3336"/>
                    </a:lnTo>
                    <a:lnTo>
                      <a:pt x="16061" y="3583"/>
                    </a:lnTo>
                    <a:lnTo>
                      <a:pt x="16061" y="3583"/>
                    </a:lnTo>
                    <a:lnTo>
                      <a:pt x="14825" y="3830"/>
                    </a:lnTo>
                    <a:lnTo>
                      <a:pt x="13528" y="3954"/>
                    </a:lnTo>
                    <a:lnTo>
                      <a:pt x="12231" y="4077"/>
                    </a:lnTo>
                    <a:lnTo>
                      <a:pt x="10934" y="4139"/>
                    </a:lnTo>
                    <a:lnTo>
                      <a:pt x="10934" y="4139"/>
                    </a:lnTo>
                    <a:lnTo>
                      <a:pt x="10007" y="4077"/>
                    </a:lnTo>
                    <a:lnTo>
                      <a:pt x="9081" y="4016"/>
                    </a:lnTo>
                    <a:lnTo>
                      <a:pt x="8154" y="3892"/>
                    </a:lnTo>
                    <a:lnTo>
                      <a:pt x="7227" y="3769"/>
                    </a:lnTo>
                    <a:lnTo>
                      <a:pt x="6301" y="3522"/>
                    </a:lnTo>
                    <a:lnTo>
                      <a:pt x="5436" y="3213"/>
                    </a:lnTo>
                    <a:lnTo>
                      <a:pt x="4571" y="2904"/>
                    </a:lnTo>
                    <a:lnTo>
                      <a:pt x="3707" y="2471"/>
                    </a:lnTo>
                    <a:lnTo>
                      <a:pt x="3707" y="2471"/>
                    </a:lnTo>
                    <a:lnTo>
                      <a:pt x="3459" y="2348"/>
                    </a:lnTo>
                    <a:lnTo>
                      <a:pt x="3459" y="2348"/>
                    </a:lnTo>
                    <a:lnTo>
                      <a:pt x="2718" y="1915"/>
                    </a:lnTo>
                    <a:lnTo>
                      <a:pt x="2039" y="1421"/>
                    </a:lnTo>
                    <a:lnTo>
                      <a:pt x="2039" y="1421"/>
                    </a:lnTo>
                    <a:lnTo>
                      <a:pt x="1050" y="1668"/>
                    </a:lnTo>
                    <a:lnTo>
                      <a:pt x="0" y="1915"/>
                    </a:lnTo>
                    <a:lnTo>
                      <a:pt x="0" y="1915"/>
                    </a:lnTo>
                    <a:lnTo>
                      <a:pt x="494" y="2966"/>
                    </a:lnTo>
                    <a:lnTo>
                      <a:pt x="1050" y="3892"/>
                    </a:lnTo>
                    <a:lnTo>
                      <a:pt x="1050" y="3892"/>
                    </a:lnTo>
                    <a:lnTo>
                      <a:pt x="1050" y="3892"/>
                    </a:lnTo>
                    <a:lnTo>
                      <a:pt x="1050" y="3892"/>
                    </a:lnTo>
                    <a:lnTo>
                      <a:pt x="1545" y="4572"/>
                    </a:lnTo>
                    <a:lnTo>
                      <a:pt x="2101" y="5251"/>
                    </a:lnTo>
                    <a:lnTo>
                      <a:pt x="2656" y="5869"/>
                    </a:lnTo>
                    <a:lnTo>
                      <a:pt x="3274" y="6425"/>
                    </a:lnTo>
                    <a:lnTo>
                      <a:pt x="3954" y="6981"/>
                    </a:lnTo>
                    <a:lnTo>
                      <a:pt x="4633" y="7413"/>
                    </a:lnTo>
                    <a:lnTo>
                      <a:pt x="5374" y="7907"/>
                    </a:lnTo>
                    <a:lnTo>
                      <a:pt x="6116" y="8278"/>
                    </a:lnTo>
                    <a:lnTo>
                      <a:pt x="6116" y="8278"/>
                    </a:lnTo>
                    <a:lnTo>
                      <a:pt x="7227" y="8710"/>
                    </a:lnTo>
                    <a:lnTo>
                      <a:pt x="8339" y="9081"/>
                    </a:lnTo>
                    <a:lnTo>
                      <a:pt x="8339" y="9081"/>
                    </a:lnTo>
                    <a:lnTo>
                      <a:pt x="9019" y="9204"/>
                    </a:lnTo>
                    <a:lnTo>
                      <a:pt x="9760" y="9328"/>
                    </a:lnTo>
                    <a:lnTo>
                      <a:pt x="9760" y="9328"/>
                    </a:lnTo>
                    <a:lnTo>
                      <a:pt x="10440" y="9390"/>
                    </a:lnTo>
                    <a:lnTo>
                      <a:pt x="11119" y="9451"/>
                    </a:lnTo>
                    <a:lnTo>
                      <a:pt x="11119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243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04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366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28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490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1551" y="9451"/>
                    </a:lnTo>
                    <a:lnTo>
                      <a:pt x="12354" y="9390"/>
                    </a:lnTo>
                    <a:lnTo>
                      <a:pt x="13096" y="9328"/>
                    </a:lnTo>
                    <a:lnTo>
                      <a:pt x="13837" y="9204"/>
                    </a:lnTo>
                    <a:lnTo>
                      <a:pt x="14578" y="9019"/>
                    </a:lnTo>
                    <a:lnTo>
                      <a:pt x="14578" y="9019"/>
                    </a:lnTo>
                    <a:lnTo>
                      <a:pt x="15628" y="8710"/>
                    </a:lnTo>
                    <a:lnTo>
                      <a:pt x="15628" y="8710"/>
                    </a:lnTo>
                    <a:lnTo>
                      <a:pt x="16431" y="8401"/>
                    </a:lnTo>
                    <a:lnTo>
                      <a:pt x="17172" y="8031"/>
                    </a:lnTo>
                    <a:lnTo>
                      <a:pt x="17914" y="7598"/>
                    </a:lnTo>
                    <a:lnTo>
                      <a:pt x="18655" y="7104"/>
                    </a:lnTo>
                    <a:lnTo>
                      <a:pt x="18655" y="7104"/>
                    </a:lnTo>
                    <a:lnTo>
                      <a:pt x="19149" y="6734"/>
                    </a:lnTo>
                    <a:lnTo>
                      <a:pt x="19149" y="6734"/>
                    </a:lnTo>
                    <a:lnTo>
                      <a:pt x="19767" y="6239"/>
                    </a:lnTo>
                    <a:lnTo>
                      <a:pt x="19767" y="6239"/>
                    </a:lnTo>
                    <a:lnTo>
                      <a:pt x="20261" y="5745"/>
                    </a:lnTo>
                    <a:lnTo>
                      <a:pt x="20693" y="5251"/>
                    </a:lnTo>
                    <a:lnTo>
                      <a:pt x="21188" y="4757"/>
                    </a:lnTo>
                    <a:lnTo>
                      <a:pt x="21558" y="4201"/>
                    </a:lnTo>
                    <a:lnTo>
                      <a:pt x="21558" y="4201"/>
                    </a:lnTo>
                    <a:lnTo>
                      <a:pt x="20632" y="3769"/>
                    </a:lnTo>
                    <a:lnTo>
                      <a:pt x="19705" y="3274"/>
                    </a:lnTo>
                    <a:lnTo>
                      <a:pt x="19705" y="3274"/>
                    </a:lnTo>
                    <a:lnTo>
                      <a:pt x="20632" y="2966"/>
                    </a:lnTo>
                    <a:lnTo>
                      <a:pt x="21435" y="2533"/>
                    </a:lnTo>
                    <a:lnTo>
                      <a:pt x="22238" y="2039"/>
                    </a:lnTo>
                    <a:lnTo>
                      <a:pt x="22855" y="1421"/>
                    </a:lnTo>
                    <a:lnTo>
                      <a:pt x="22855" y="1421"/>
                    </a:lnTo>
                    <a:lnTo>
                      <a:pt x="23041" y="1112"/>
                    </a:lnTo>
                    <a:lnTo>
                      <a:pt x="23164" y="742"/>
                    </a:lnTo>
                    <a:lnTo>
                      <a:pt x="23350" y="371"/>
                    </a:lnTo>
                    <a:lnTo>
                      <a:pt x="23473" y="62"/>
                    </a:lnTo>
                    <a:lnTo>
                      <a:pt x="23473" y="62"/>
                    </a:lnTo>
                    <a:lnTo>
                      <a:pt x="2347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3" name="Google Shape;1409;p142">
                <a:extLst>
                  <a:ext uri="{FF2B5EF4-FFF2-40B4-BE49-F238E27FC236}">
                    <a16:creationId xmlns:a16="http://schemas.microsoft.com/office/drawing/2014/main" id="{72C34302-2088-2319-C2C5-040F8F741024}"/>
                  </a:ext>
                </a:extLst>
              </p:cNvPr>
              <p:cNvSpPr/>
              <p:nvPr/>
            </p:nvSpPr>
            <p:spPr>
              <a:xfrm>
                <a:off x="12038791" y="2743215"/>
                <a:ext cx="14427" cy="5055"/>
              </a:xfrm>
              <a:custGeom>
                <a:avLst/>
                <a:gdLst/>
                <a:ahLst/>
                <a:cxnLst/>
                <a:rect l="l" t="t" r="r" b="b"/>
                <a:pathLst>
                  <a:path w="1236" h="433" extrusionOk="0">
                    <a:moveTo>
                      <a:pt x="0" y="0"/>
                    </a:moveTo>
                    <a:lnTo>
                      <a:pt x="0" y="62"/>
                    </a:lnTo>
                    <a:lnTo>
                      <a:pt x="1236" y="4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6B3B3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4" name="Google Shape;1410;p142">
                <a:extLst>
                  <a:ext uri="{FF2B5EF4-FFF2-40B4-BE49-F238E27FC236}">
                    <a16:creationId xmlns:a16="http://schemas.microsoft.com/office/drawing/2014/main" id="{885ABCB7-6EAA-B2A9-B3CC-CC5F43B7542B}"/>
                  </a:ext>
                </a:extLst>
              </p:cNvPr>
              <p:cNvSpPr/>
              <p:nvPr/>
            </p:nvSpPr>
            <p:spPr>
              <a:xfrm>
                <a:off x="1173115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5" name="Google Shape;1411;p142">
                <a:extLst>
                  <a:ext uri="{FF2B5EF4-FFF2-40B4-BE49-F238E27FC236}">
                    <a16:creationId xmlns:a16="http://schemas.microsoft.com/office/drawing/2014/main" id="{37441AE3-F867-019A-4544-8CD30CDED11C}"/>
                  </a:ext>
                </a:extLst>
              </p:cNvPr>
              <p:cNvSpPr/>
              <p:nvPr/>
            </p:nvSpPr>
            <p:spPr>
              <a:xfrm>
                <a:off x="1173115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6" name="Google Shape;1412;p142">
                <a:extLst>
                  <a:ext uri="{FF2B5EF4-FFF2-40B4-BE49-F238E27FC236}">
                    <a16:creationId xmlns:a16="http://schemas.microsoft.com/office/drawing/2014/main" id="{6593CC80-ADDD-C21A-6DEF-CCC44C096CE6}"/>
                  </a:ext>
                </a:extLst>
              </p:cNvPr>
              <p:cNvSpPr/>
              <p:nvPr/>
            </p:nvSpPr>
            <p:spPr>
              <a:xfrm>
                <a:off x="11731158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7" name="Google Shape;1413;p142">
                <a:extLst>
                  <a:ext uri="{FF2B5EF4-FFF2-40B4-BE49-F238E27FC236}">
                    <a16:creationId xmlns:a16="http://schemas.microsoft.com/office/drawing/2014/main" id="{2A376685-2A23-CA09-8708-7AF1A29B9020}"/>
                  </a:ext>
                </a:extLst>
              </p:cNvPr>
              <p:cNvSpPr/>
              <p:nvPr/>
            </p:nvSpPr>
            <p:spPr>
              <a:xfrm>
                <a:off x="11730446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62" y="1"/>
                    </a:lnTo>
                    <a:lnTo>
                      <a:pt x="62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48" name="Google Shape;1414;p142">
                <a:extLst>
                  <a:ext uri="{FF2B5EF4-FFF2-40B4-BE49-F238E27FC236}">
                    <a16:creationId xmlns:a16="http://schemas.microsoft.com/office/drawing/2014/main" id="{24736A42-B0E9-DFE2-9419-0D303E7DF65B}"/>
                  </a:ext>
                </a:extLst>
              </p:cNvPr>
              <p:cNvSpPr/>
              <p:nvPr/>
            </p:nvSpPr>
            <p:spPr>
              <a:xfrm>
                <a:off x="11731881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0" name="Google Shape;1415;p142">
                <a:extLst>
                  <a:ext uri="{FF2B5EF4-FFF2-40B4-BE49-F238E27FC236}">
                    <a16:creationId xmlns:a16="http://schemas.microsoft.com/office/drawing/2014/main" id="{8B8F85B6-D911-7217-E798-7D07B2F858C9}"/>
                  </a:ext>
                </a:extLst>
              </p:cNvPr>
              <p:cNvSpPr/>
              <p:nvPr/>
            </p:nvSpPr>
            <p:spPr>
              <a:xfrm>
                <a:off x="11731881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1" name="Google Shape;1416;p142">
                <a:extLst>
                  <a:ext uri="{FF2B5EF4-FFF2-40B4-BE49-F238E27FC236}">
                    <a16:creationId xmlns:a16="http://schemas.microsoft.com/office/drawing/2014/main" id="{6C85008F-9B2E-237A-AB72-95125B9FAD6E}"/>
                  </a:ext>
                </a:extLst>
              </p:cNvPr>
              <p:cNvSpPr/>
              <p:nvPr/>
            </p:nvSpPr>
            <p:spPr>
              <a:xfrm>
                <a:off x="11732605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2" name="Google Shape;1417;p142">
                <a:extLst>
                  <a:ext uri="{FF2B5EF4-FFF2-40B4-BE49-F238E27FC236}">
                    <a16:creationId xmlns:a16="http://schemas.microsoft.com/office/drawing/2014/main" id="{B565DF9D-6E57-B1F3-A680-251ECAC002B1}"/>
                  </a:ext>
                </a:extLst>
              </p:cNvPr>
              <p:cNvSpPr/>
              <p:nvPr/>
            </p:nvSpPr>
            <p:spPr>
              <a:xfrm>
                <a:off x="11732605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3" name="Google Shape;1418;p142">
                <a:extLst>
                  <a:ext uri="{FF2B5EF4-FFF2-40B4-BE49-F238E27FC236}">
                    <a16:creationId xmlns:a16="http://schemas.microsoft.com/office/drawing/2014/main" id="{91931B82-AB41-4069-79E7-12E17FCA3DB6}"/>
                  </a:ext>
                </a:extLst>
              </p:cNvPr>
              <p:cNvSpPr/>
              <p:nvPr/>
            </p:nvSpPr>
            <p:spPr>
              <a:xfrm>
                <a:off x="11732605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4" name="Google Shape;1419;p142">
                <a:extLst>
                  <a:ext uri="{FF2B5EF4-FFF2-40B4-BE49-F238E27FC236}">
                    <a16:creationId xmlns:a16="http://schemas.microsoft.com/office/drawing/2014/main" id="{86B664FF-A59E-7EE1-981C-2170C647C837}"/>
                  </a:ext>
                </a:extLst>
              </p:cNvPr>
              <p:cNvSpPr/>
              <p:nvPr/>
            </p:nvSpPr>
            <p:spPr>
              <a:xfrm>
                <a:off x="1173332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5" name="Google Shape;1420;p142">
                <a:extLst>
                  <a:ext uri="{FF2B5EF4-FFF2-40B4-BE49-F238E27FC236}">
                    <a16:creationId xmlns:a16="http://schemas.microsoft.com/office/drawing/2014/main" id="{D97D1F3A-5587-A508-9983-7035C7D0C359}"/>
                  </a:ext>
                </a:extLst>
              </p:cNvPr>
              <p:cNvSpPr/>
              <p:nvPr/>
            </p:nvSpPr>
            <p:spPr>
              <a:xfrm>
                <a:off x="1173332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6" name="Google Shape;1421;p142">
                <a:extLst>
                  <a:ext uri="{FF2B5EF4-FFF2-40B4-BE49-F238E27FC236}">
                    <a16:creationId xmlns:a16="http://schemas.microsoft.com/office/drawing/2014/main" id="{0524A23B-EBDD-FEAF-7407-9F8348FE21BD}"/>
                  </a:ext>
                </a:extLst>
              </p:cNvPr>
              <p:cNvSpPr/>
              <p:nvPr/>
            </p:nvSpPr>
            <p:spPr>
              <a:xfrm>
                <a:off x="11733328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7" name="Google Shape;1422;p142">
                <a:extLst>
                  <a:ext uri="{FF2B5EF4-FFF2-40B4-BE49-F238E27FC236}">
                    <a16:creationId xmlns:a16="http://schemas.microsoft.com/office/drawing/2014/main" id="{D6C1147D-5C88-E66D-E580-BA8AA2A5FE72}"/>
                  </a:ext>
                </a:extLst>
              </p:cNvPr>
              <p:cNvSpPr/>
              <p:nvPr/>
            </p:nvSpPr>
            <p:spPr>
              <a:xfrm>
                <a:off x="11734040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8" name="Google Shape;1423;p142">
                <a:extLst>
                  <a:ext uri="{FF2B5EF4-FFF2-40B4-BE49-F238E27FC236}">
                    <a16:creationId xmlns:a16="http://schemas.microsoft.com/office/drawing/2014/main" id="{A44FD36D-A7D3-C56F-E1DB-5F4325984390}"/>
                  </a:ext>
                </a:extLst>
              </p:cNvPr>
              <p:cNvSpPr/>
              <p:nvPr/>
            </p:nvSpPr>
            <p:spPr>
              <a:xfrm>
                <a:off x="11734040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59" name="Google Shape;1424;p142">
                <a:extLst>
                  <a:ext uri="{FF2B5EF4-FFF2-40B4-BE49-F238E27FC236}">
                    <a16:creationId xmlns:a16="http://schemas.microsoft.com/office/drawing/2014/main" id="{FA9366E4-B328-1A61-50D0-4AFF87D23110}"/>
                  </a:ext>
                </a:extLst>
              </p:cNvPr>
              <p:cNvSpPr/>
              <p:nvPr/>
            </p:nvSpPr>
            <p:spPr>
              <a:xfrm>
                <a:off x="11734040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0" name="Google Shape;1425;p142">
                <a:extLst>
                  <a:ext uri="{FF2B5EF4-FFF2-40B4-BE49-F238E27FC236}">
                    <a16:creationId xmlns:a16="http://schemas.microsoft.com/office/drawing/2014/main" id="{1A15A016-CE59-AA90-6CE3-B878DE56FFEE}"/>
                  </a:ext>
                </a:extLst>
              </p:cNvPr>
              <p:cNvSpPr/>
              <p:nvPr/>
            </p:nvSpPr>
            <p:spPr>
              <a:xfrm>
                <a:off x="1173476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1" name="Google Shape;1426;p142">
                <a:extLst>
                  <a:ext uri="{FF2B5EF4-FFF2-40B4-BE49-F238E27FC236}">
                    <a16:creationId xmlns:a16="http://schemas.microsoft.com/office/drawing/2014/main" id="{FFBBDE32-E904-96E5-A526-02CF98A0E87C}"/>
                  </a:ext>
                </a:extLst>
              </p:cNvPr>
              <p:cNvSpPr/>
              <p:nvPr/>
            </p:nvSpPr>
            <p:spPr>
              <a:xfrm>
                <a:off x="1173476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2" name="Google Shape;1427;p142">
                <a:extLst>
                  <a:ext uri="{FF2B5EF4-FFF2-40B4-BE49-F238E27FC236}">
                    <a16:creationId xmlns:a16="http://schemas.microsoft.com/office/drawing/2014/main" id="{26E5855A-694C-9B21-AA51-B138DBB49572}"/>
                  </a:ext>
                </a:extLst>
              </p:cNvPr>
              <p:cNvSpPr/>
              <p:nvPr/>
            </p:nvSpPr>
            <p:spPr>
              <a:xfrm>
                <a:off x="11734764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3" name="Google Shape;1428;p142">
                <a:extLst>
                  <a:ext uri="{FF2B5EF4-FFF2-40B4-BE49-F238E27FC236}">
                    <a16:creationId xmlns:a16="http://schemas.microsoft.com/office/drawing/2014/main" id="{0772B1FA-9EB3-98DB-45E9-E3958A144DA4}"/>
                  </a:ext>
                </a:extLst>
              </p:cNvPr>
              <p:cNvSpPr/>
              <p:nvPr/>
            </p:nvSpPr>
            <p:spPr>
              <a:xfrm>
                <a:off x="11735487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4" name="Google Shape;1429;p142">
                <a:extLst>
                  <a:ext uri="{FF2B5EF4-FFF2-40B4-BE49-F238E27FC236}">
                    <a16:creationId xmlns:a16="http://schemas.microsoft.com/office/drawing/2014/main" id="{34958C91-0685-63D0-32F6-B925A77EE07D}"/>
                  </a:ext>
                </a:extLst>
              </p:cNvPr>
              <p:cNvSpPr/>
              <p:nvPr/>
            </p:nvSpPr>
            <p:spPr>
              <a:xfrm>
                <a:off x="11735487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5" name="Google Shape;1430;p142">
                <a:extLst>
                  <a:ext uri="{FF2B5EF4-FFF2-40B4-BE49-F238E27FC236}">
                    <a16:creationId xmlns:a16="http://schemas.microsoft.com/office/drawing/2014/main" id="{0CEA885A-0771-63D6-582B-7139874F7AE0}"/>
                  </a:ext>
                </a:extLst>
              </p:cNvPr>
              <p:cNvSpPr/>
              <p:nvPr/>
            </p:nvSpPr>
            <p:spPr>
              <a:xfrm>
                <a:off x="11735487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6" name="Google Shape;1431;p142">
                <a:extLst>
                  <a:ext uri="{FF2B5EF4-FFF2-40B4-BE49-F238E27FC236}">
                    <a16:creationId xmlns:a16="http://schemas.microsoft.com/office/drawing/2014/main" id="{D61EECEF-FEA2-D122-6C5F-A1E29EDEDD04}"/>
                  </a:ext>
                </a:extLst>
              </p:cNvPr>
              <p:cNvSpPr/>
              <p:nvPr/>
            </p:nvSpPr>
            <p:spPr>
              <a:xfrm>
                <a:off x="11736211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7" name="Google Shape;1432;p142">
                <a:extLst>
                  <a:ext uri="{FF2B5EF4-FFF2-40B4-BE49-F238E27FC236}">
                    <a16:creationId xmlns:a16="http://schemas.microsoft.com/office/drawing/2014/main" id="{A51A2B18-E144-9B4E-A8EC-B06276BBB028}"/>
                  </a:ext>
                </a:extLst>
              </p:cNvPr>
              <p:cNvSpPr/>
              <p:nvPr/>
            </p:nvSpPr>
            <p:spPr>
              <a:xfrm>
                <a:off x="11736211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8" name="Google Shape;1433;p142">
                <a:extLst>
                  <a:ext uri="{FF2B5EF4-FFF2-40B4-BE49-F238E27FC236}">
                    <a16:creationId xmlns:a16="http://schemas.microsoft.com/office/drawing/2014/main" id="{E1A6B538-D9F4-2942-76A6-A35EB361A0A6}"/>
                  </a:ext>
                </a:extLst>
              </p:cNvPr>
              <p:cNvSpPr/>
              <p:nvPr/>
            </p:nvSpPr>
            <p:spPr>
              <a:xfrm>
                <a:off x="1173693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69" name="Google Shape;1434;p142">
                <a:extLst>
                  <a:ext uri="{FF2B5EF4-FFF2-40B4-BE49-F238E27FC236}">
                    <a16:creationId xmlns:a16="http://schemas.microsoft.com/office/drawing/2014/main" id="{29832CE7-CAB2-D166-B958-979CB61BE65E}"/>
                  </a:ext>
                </a:extLst>
              </p:cNvPr>
              <p:cNvSpPr/>
              <p:nvPr/>
            </p:nvSpPr>
            <p:spPr>
              <a:xfrm>
                <a:off x="11737646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0" name="Google Shape;1435;p142">
                <a:extLst>
                  <a:ext uri="{FF2B5EF4-FFF2-40B4-BE49-F238E27FC236}">
                    <a16:creationId xmlns:a16="http://schemas.microsoft.com/office/drawing/2014/main" id="{CEE8CAF2-044E-D076-006A-37FEF2D3A9F8}"/>
                  </a:ext>
                </a:extLst>
              </p:cNvPr>
              <p:cNvSpPr/>
              <p:nvPr/>
            </p:nvSpPr>
            <p:spPr>
              <a:xfrm>
                <a:off x="11737646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1" name="Google Shape;1436;p142">
                <a:extLst>
                  <a:ext uri="{FF2B5EF4-FFF2-40B4-BE49-F238E27FC236}">
                    <a16:creationId xmlns:a16="http://schemas.microsoft.com/office/drawing/2014/main" id="{CA9336A4-8CD1-BDDA-67EB-25E5B9E68CE1}"/>
                  </a:ext>
                </a:extLst>
              </p:cNvPr>
              <p:cNvSpPr/>
              <p:nvPr/>
            </p:nvSpPr>
            <p:spPr>
              <a:xfrm>
                <a:off x="11737646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2" name="Google Shape;1437;p142">
                <a:extLst>
                  <a:ext uri="{FF2B5EF4-FFF2-40B4-BE49-F238E27FC236}">
                    <a16:creationId xmlns:a16="http://schemas.microsoft.com/office/drawing/2014/main" id="{286E35FC-875F-75AD-FEC1-1BF0B78E1B13}"/>
                  </a:ext>
                </a:extLst>
              </p:cNvPr>
              <p:cNvSpPr/>
              <p:nvPr/>
            </p:nvSpPr>
            <p:spPr>
              <a:xfrm>
                <a:off x="11738370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3" name="Google Shape;1438;p142">
                <a:extLst>
                  <a:ext uri="{FF2B5EF4-FFF2-40B4-BE49-F238E27FC236}">
                    <a16:creationId xmlns:a16="http://schemas.microsoft.com/office/drawing/2014/main" id="{E6A0F18C-226D-CFDF-D600-E19AC4CEAE88}"/>
                  </a:ext>
                </a:extLst>
              </p:cNvPr>
              <p:cNvSpPr/>
              <p:nvPr/>
            </p:nvSpPr>
            <p:spPr>
              <a:xfrm>
                <a:off x="11738370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4" name="Google Shape;1439;p142">
                <a:extLst>
                  <a:ext uri="{FF2B5EF4-FFF2-40B4-BE49-F238E27FC236}">
                    <a16:creationId xmlns:a16="http://schemas.microsoft.com/office/drawing/2014/main" id="{897BDFDE-A548-88DE-427A-596988501819}"/>
                  </a:ext>
                </a:extLst>
              </p:cNvPr>
              <p:cNvSpPr/>
              <p:nvPr/>
            </p:nvSpPr>
            <p:spPr>
              <a:xfrm>
                <a:off x="11738370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5" name="Google Shape;1440;p142">
                <a:extLst>
                  <a:ext uri="{FF2B5EF4-FFF2-40B4-BE49-F238E27FC236}">
                    <a16:creationId xmlns:a16="http://schemas.microsoft.com/office/drawing/2014/main" id="{AA19D975-E2A2-88C4-4339-573CDCF7A796}"/>
                  </a:ext>
                </a:extLst>
              </p:cNvPr>
              <p:cNvSpPr/>
              <p:nvPr/>
            </p:nvSpPr>
            <p:spPr>
              <a:xfrm>
                <a:off x="11739093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6" name="Google Shape;1441;p142">
                <a:extLst>
                  <a:ext uri="{FF2B5EF4-FFF2-40B4-BE49-F238E27FC236}">
                    <a16:creationId xmlns:a16="http://schemas.microsoft.com/office/drawing/2014/main" id="{23A7456F-EDD7-EC75-B833-5EF64F30FA97}"/>
                  </a:ext>
                </a:extLst>
              </p:cNvPr>
              <p:cNvSpPr/>
              <p:nvPr/>
            </p:nvSpPr>
            <p:spPr>
              <a:xfrm>
                <a:off x="11739093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7" name="Google Shape;1442;p142">
                <a:extLst>
                  <a:ext uri="{FF2B5EF4-FFF2-40B4-BE49-F238E27FC236}">
                    <a16:creationId xmlns:a16="http://schemas.microsoft.com/office/drawing/2014/main" id="{BC440F83-3AC9-5607-4CF0-787B939C5AD9}"/>
                  </a:ext>
                </a:extLst>
              </p:cNvPr>
              <p:cNvSpPr/>
              <p:nvPr/>
            </p:nvSpPr>
            <p:spPr>
              <a:xfrm>
                <a:off x="11739093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8" name="Google Shape;1443;p142">
                <a:extLst>
                  <a:ext uri="{FF2B5EF4-FFF2-40B4-BE49-F238E27FC236}">
                    <a16:creationId xmlns:a16="http://schemas.microsoft.com/office/drawing/2014/main" id="{2C12009A-2EAA-15E7-E716-12BAC92313EB}"/>
                  </a:ext>
                </a:extLst>
              </p:cNvPr>
              <p:cNvSpPr/>
              <p:nvPr/>
            </p:nvSpPr>
            <p:spPr>
              <a:xfrm>
                <a:off x="11739817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79" name="Google Shape;1444;p142">
                <a:extLst>
                  <a:ext uri="{FF2B5EF4-FFF2-40B4-BE49-F238E27FC236}">
                    <a16:creationId xmlns:a16="http://schemas.microsoft.com/office/drawing/2014/main" id="{D7E78A7F-DFA8-CE30-A6A1-15A6C7071104}"/>
                  </a:ext>
                </a:extLst>
              </p:cNvPr>
              <p:cNvSpPr/>
              <p:nvPr/>
            </p:nvSpPr>
            <p:spPr>
              <a:xfrm>
                <a:off x="11739817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0" name="Google Shape;1445;p142">
                <a:extLst>
                  <a:ext uri="{FF2B5EF4-FFF2-40B4-BE49-F238E27FC236}">
                    <a16:creationId xmlns:a16="http://schemas.microsoft.com/office/drawing/2014/main" id="{3E0428B9-2D44-2198-B4D5-3A986CFB321C}"/>
                  </a:ext>
                </a:extLst>
              </p:cNvPr>
              <p:cNvSpPr/>
              <p:nvPr/>
            </p:nvSpPr>
            <p:spPr>
              <a:xfrm>
                <a:off x="11739817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1" name="Google Shape;1446;p142">
                <a:extLst>
                  <a:ext uri="{FF2B5EF4-FFF2-40B4-BE49-F238E27FC236}">
                    <a16:creationId xmlns:a16="http://schemas.microsoft.com/office/drawing/2014/main" id="{F5DA0519-49AA-AE9D-8212-857387016F10}"/>
                  </a:ext>
                </a:extLst>
              </p:cNvPr>
              <p:cNvSpPr/>
              <p:nvPr/>
            </p:nvSpPr>
            <p:spPr>
              <a:xfrm>
                <a:off x="1174052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2" name="Google Shape;1447;p142">
                <a:extLst>
                  <a:ext uri="{FF2B5EF4-FFF2-40B4-BE49-F238E27FC236}">
                    <a16:creationId xmlns:a16="http://schemas.microsoft.com/office/drawing/2014/main" id="{BCAEC173-1681-2FCE-4449-E48545724BF8}"/>
                  </a:ext>
                </a:extLst>
              </p:cNvPr>
              <p:cNvSpPr/>
              <p:nvPr/>
            </p:nvSpPr>
            <p:spPr>
              <a:xfrm>
                <a:off x="11740528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3" name="Google Shape;1448;p142">
                <a:extLst>
                  <a:ext uri="{FF2B5EF4-FFF2-40B4-BE49-F238E27FC236}">
                    <a16:creationId xmlns:a16="http://schemas.microsoft.com/office/drawing/2014/main" id="{93FFD15D-D93C-6DE5-94FF-27B7D42FAC1E}"/>
                  </a:ext>
                </a:extLst>
              </p:cNvPr>
              <p:cNvSpPr/>
              <p:nvPr/>
            </p:nvSpPr>
            <p:spPr>
              <a:xfrm>
                <a:off x="11741252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4" name="Google Shape;1449;p142">
                <a:extLst>
                  <a:ext uri="{FF2B5EF4-FFF2-40B4-BE49-F238E27FC236}">
                    <a16:creationId xmlns:a16="http://schemas.microsoft.com/office/drawing/2014/main" id="{13A8E3DA-D515-27C5-DBDD-0B036C6D80C0}"/>
                  </a:ext>
                </a:extLst>
              </p:cNvPr>
              <p:cNvSpPr/>
              <p:nvPr/>
            </p:nvSpPr>
            <p:spPr>
              <a:xfrm>
                <a:off x="11741252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5" name="Google Shape;1450;p142">
                <a:extLst>
                  <a:ext uri="{FF2B5EF4-FFF2-40B4-BE49-F238E27FC236}">
                    <a16:creationId xmlns:a16="http://schemas.microsoft.com/office/drawing/2014/main" id="{761A1C5F-0325-5C13-91E4-E6DD6020A595}"/>
                  </a:ext>
                </a:extLst>
              </p:cNvPr>
              <p:cNvSpPr/>
              <p:nvPr/>
            </p:nvSpPr>
            <p:spPr>
              <a:xfrm>
                <a:off x="11741975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6" name="Google Shape;1451;p142">
                <a:extLst>
                  <a:ext uri="{FF2B5EF4-FFF2-40B4-BE49-F238E27FC236}">
                    <a16:creationId xmlns:a16="http://schemas.microsoft.com/office/drawing/2014/main" id="{A7C82363-95F6-EB0D-AAEC-7A58FC8A0281}"/>
                  </a:ext>
                </a:extLst>
              </p:cNvPr>
              <p:cNvSpPr/>
              <p:nvPr/>
            </p:nvSpPr>
            <p:spPr>
              <a:xfrm>
                <a:off x="11741975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7" name="Google Shape;1452;p142">
                <a:extLst>
                  <a:ext uri="{FF2B5EF4-FFF2-40B4-BE49-F238E27FC236}">
                    <a16:creationId xmlns:a16="http://schemas.microsoft.com/office/drawing/2014/main" id="{1CEFEB90-9793-18F2-FAF2-379267D6D4AF}"/>
                  </a:ext>
                </a:extLst>
              </p:cNvPr>
              <p:cNvSpPr/>
              <p:nvPr/>
            </p:nvSpPr>
            <p:spPr>
              <a:xfrm>
                <a:off x="11742699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8" name="Google Shape;1453;p142">
                <a:extLst>
                  <a:ext uri="{FF2B5EF4-FFF2-40B4-BE49-F238E27FC236}">
                    <a16:creationId xmlns:a16="http://schemas.microsoft.com/office/drawing/2014/main" id="{F0894B29-35F8-48DA-BFFE-8845AE0EA808}"/>
                  </a:ext>
                </a:extLst>
              </p:cNvPr>
              <p:cNvSpPr/>
              <p:nvPr/>
            </p:nvSpPr>
            <p:spPr>
              <a:xfrm>
                <a:off x="11742699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89" name="Google Shape;1454;p142">
                <a:extLst>
                  <a:ext uri="{FF2B5EF4-FFF2-40B4-BE49-F238E27FC236}">
                    <a16:creationId xmlns:a16="http://schemas.microsoft.com/office/drawing/2014/main" id="{8BB7D4B3-E690-872B-1C19-C8C80AA3B673}"/>
                  </a:ext>
                </a:extLst>
              </p:cNvPr>
              <p:cNvSpPr/>
              <p:nvPr/>
            </p:nvSpPr>
            <p:spPr>
              <a:xfrm>
                <a:off x="11743422" y="2754744"/>
                <a:ext cx="0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0" name="Google Shape;1455;p142">
                <a:extLst>
                  <a:ext uri="{FF2B5EF4-FFF2-40B4-BE49-F238E27FC236}">
                    <a16:creationId xmlns:a16="http://schemas.microsoft.com/office/drawing/2014/main" id="{479241BE-766D-168D-973A-A7334F55C119}"/>
                  </a:ext>
                </a:extLst>
              </p:cNvPr>
              <p:cNvSpPr/>
              <p:nvPr/>
            </p:nvSpPr>
            <p:spPr>
              <a:xfrm>
                <a:off x="11743422" y="2754744"/>
                <a:ext cx="0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1" name="Google Shape;1456;p142">
                <a:extLst>
                  <a:ext uri="{FF2B5EF4-FFF2-40B4-BE49-F238E27FC236}">
                    <a16:creationId xmlns:a16="http://schemas.microsoft.com/office/drawing/2014/main" id="{E6DC6183-FEB4-F92A-7CF1-C300264FD873}"/>
                  </a:ext>
                </a:extLst>
              </p:cNvPr>
              <p:cNvSpPr/>
              <p:nvPr/>
            </p:nvSpPr>
            <p:spPr>
              <a:xfrm>
                <a:off x="11743422" y="2754744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2" name="Google Shape;1457;p142">
                <a:extLst>
                  <a:ext uri="{FF2B5EF4-FFF2-40B4-BE49-F238E27FC236}">
                    <a16:creationId xmlns:a16="http://schemas.microsoft.com/office/drawing/2014/main" id="{F790C342-E431-AF26-09C2-DA061C574C5C}"/>
                  </a:ext>
                </a:extLst>
              </p:cNvPr>
              <p:cNvSpPr/>
              <p:nvPr/>
            </p:nvSpPr>
            <p:spPr>
              <a:xfrm>
                <a:off x="1174413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3" name="Google Shape;1458;p142">
                <a:extLst>
                  <a:ext uri="{FF2B5EF4-FFF2-40B4-BE49-F238E27FC236}">
                    <a16:creationId xmlns:a16="http://schemas.microsoft.com/office/drawing/2014/main" id="{4186ED4F-B7C8-2B62-1485-90957FE098BF}"/>
                  </a:ext>
                </a:extLst>
              </p:cNvPr>
              <p:cNvSpPr/>
              <p:nvPr/>
            </p:nvSpPr>
            <p:spPr>
              <a:xfrm>
                <a:off x="11744134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4" name="Google Shape;1459;p142">
                <a:extLst>
                  <a:ext uri="{FF2B5EF4-FFF2-40B4-BE49-F238E27FC236}">
                    <a16:creationId xmlns:a16="http://schemas.microsoft.com/office/drawing/2014/main" id="{2AE2BB2D-C042-4F76-3A85-C4203EDF31DF}"/>
                  </a:ext>
                </a:extLst>
              </p:cNvPr>
              <p:cNvSpPr/>
              <p:nvPr/>
            </p:nvSpPr>
            <p:spPr>
              <a:xfrm>
                <a:off x="11744134" y="2754744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5" name="Google Shape;1460;p142">
                <a:extLst>
                  <a:ext uri="{FF2B5EF4-FFF2-40B4-BE49-F238E27FC236}">
                    <a16:creationId xmlns:a16="http://schemas.microsoft.com/office/drawing/2014/main" id="{3F5ED2E1-42AC-BDA1-24B2-E6098D9890E3}"/>
                  </a:ext>
                </a:extLst>
              </p:cNvPr>
              <p:cNvSpPr/>
              <p:nvPr/>
            </p:nvSpPr>
            <p:spPr>
              <a:xfrm>
                <a:off x="1174485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6" name="Google Shape;1461;p142">
                <a:extLst>
                  <a:ext uri="{FF2B5EF4-FFF2-40B4-BE49-F238E27FC236}">
                    <a16:creationId xmlns:a16="http://schemas.microsoft.com/office/drawing/2014/main" id="{C5422CCB-4663-CEB4-2243-46121DA73C39}"/>
                  </a:ext>
                </a:extLst>
              </p:cNvPr>
              <p:cNvSpPr/>
              <p:nvPr/>
            </p:nvSpPr>
            <p:spPr>
              <a:xfrm>
                <a:off x="11744858" y="2754744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7" name="Google Shape;1462;p142">
                <a:extLst>
                  <a:ext uri="{FF2B5EF4-FFF2-40B4-BE49-F238E27FC236}">
                    <a16:creationId xmlns:a16="http://schemas.microsoft.com/office/drawing/2014/main" id="{5CFE9BE7-8139-4148-4CA7-DB681F799E89}"/>
                  </a:ext>
                </a:extLst>
              </p:cNvPr>
              <p:cNvSpPr/>
              <p:nvPr/>
            </p:nvSpPr>
            <p:spPr>
              <a:xfrm>
                <a:off x="11744858" y="2754020"/>
                <a:ext cx="735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63" h="63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63"/>
                    </a:lnTo>
                    <a:lnTo>
                      <a:pt x="1" y="63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8" name="Google Shape;1463;p142">
                <a:extLst>
                  <a:ext uri="{FF2B5EF4-FFF2-40B4-BE49-F238E27FC236}">
                    <a16:creationId xmlns:a16="http://schemas.microsoft.com/office/drawing/2014/main" id="{A7162E0B-7306-43BB-010F-0604259696E2}"/>
                  </a:ext>
                </a:extLst>
              </p:cNvPr>
              <p:cNvSpPr/>
              <p:nvPr/>
            </p:nvSpPr>
            <p:spPr>
              <a:xfrm>
                <a:off x="11745581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99" name="Google Shape;1464;p142">
                <a:extLst>
                  <a:ext uri="{FF2B5EF4-FFF2-40B4-BE49-F238E27FC236}">
                    <a16:creationId xmlns:a16="http://schemas.microsoft.com/office/drawing/2014/main" id="{1A38D7C9-8636-882E-21B1-83D64A8CDF2D}"/>
                  </a:ext>
                </a:extLst>
              </p:cNvPr>
              <p:cNvSpPr/>
              <p:nvPr/>
            </p:nvSpPr>
            <p:spPr>
              <a:xfrm>
                <a:off x="11745581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0" name="Google Shape;1465;p142">
                <a:extLst>
                  <a:ext uri="{FF2B5EF4-FFF2-40B4-BE49-F238E27FC236}">
                    <a16:creationId xmlns:a16="http://schemas.microsoft.com/office/drawing/2014/main" id="{FA670AFD-7757-8CE1-747E-7DF7B0297C22}"/>
                  </a:ext>
                </a:extLst>
              </p:cNvPr>
              <p:cNvSpPr/>
              <p:nvPr/>
            </p:nvSpPr>
            <p:spPr>
              <a:xfrm>
                <a:off x="11745581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1" name="Google Shape;1466;p142">
                <a:extLst>
                  <a:ext uri="{FF2B5EF4-FFF2-40B4-BE49-F238E27FC236}">
                    <a16:creationId xmlns:a16="http://schemas.microsoft.com/office/drawing/2014/main" id="{F6686EEC-E528-7D09-0877-547F713508B8}"/>
                  </a:ext>
                </a:extLst>
              </p:cNvPr>
              <p:cNvSpPr/>
              <p:nvPr/>
            </p:nvSpPr>
            <p:spPr>
              <a:xfrm>
                <a:off x="11746305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2" name="Google Shape;1467;p142">
                <a:extLst>
                  <a:ext uri="{FF2B5EF4-FFF2-40B4-BE49-F238E27FC236}">
                    <a16:creationId xmlns:a16="http://schemas.microsoft.com/office/drawing/2014/main" id="{FE1BED09-F3D8-B171-2548-04BE533CB6B5}"/>
                  </a:ext>
                </a:extLst>
              </p:cNvPr>
              <p:cNvSpPr/>
              <p:nvPr/>
            </p:nvSpPr>
            <p:spPr>
              <a:xfrm>
                <a:off x="11746305" y="2754020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3" name="Google Shape;1468;p142">
                <a:extLst>
                  <a:ext uri="{FF2B5EF4-FFF2-40B4-BE49-F238E27FC236}">
                    <a16:creationId xmlns:a16="http://schemas.microsoft.com/office/drawing/2014/main" id="{146EA6EC-D79C-5566-4817-04E027DB5D12}"/>
                  </a:ext>
                </a:extLst>
              </p:cNvPr>
              <p:cNvSpPr/>
              <p:nvPr/>
            </p:nvSpPr>
            <p:spPr>
              <a:xfrm>
                <a:off x="11747017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4" name="Google Shape;1469;p142">
                <a:extLst>
                  <a:ext uri="{FF2B5EF4-FFF2-40B4-BE49-F238E27FC236}">
                    <a16:creationId xmlns:a16="http://schemas.microsoft.com/office/drawing/2014/main" id="{EEBE1F1D-865F-BE6B-B532-51C93989C17F}"/>
                  </a:ext>
                </a:extLst>
              </p:cNvPr>
              <p:cNvSpPr/>
              <p:nvPr/>
            </p:nvSpPr>
            <p:spPr>
              <a:xfrm>
                <a:off x="11747017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5" name="Google Shape;1470;p142">
                <a:extLst>
                  <a:ext uri="{FF2B5EF4-FFF2-40B4-BE49-F238E27FC236}">
                    <a16:creationId xmlns:a16="http://schemas.microsoft.com/office/drawing/2014/main" id="{8BBC5B28-2D4E-5BF4-5B72-879C5C7F4D3F}"/>
                  </a:ext>
                </a:extLst>
              </p:cNvPr>
              <p:cNvSpPr/>
              <p:nvPr/>
            </p:nvSpPr>
            <p:spPr>
              <a:xfrm>
                <a:off x="11747740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6" name="Google Shape;1471;p142">
                <a:extLst>
                  <a:ext uri="{FF2B5EF4-FFF2-40B4-BE49-F238E27FC236}">
                    <a16:creationId xmlns:a16="http://schemas.microsoft.com/office/drawing/2014/main" id="{10D741CB-D593-F61D-B5E4-E30E1F2C33FA}"/>
                  </a:ext>
                </a:extLst>
              </p:cNvPr>
              <p:cNvSpPr/>
              <p:nvPr/>
            </p:nvSpPr>
            <p:spPr>
              <a:xfrm>
                <a:off x="11747740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7" name="Google Shape;1472;p142">
                <a:extLst>
                  <a:ext uri="{FF2B5EF4-FFF2-40B4-BE49-F238E27FC236}">
                    <a16:creationId xmlns:a16="http://schemas.microsoft.com/office/drawing/2014/main" id="{50E95046-CBD2-F7AC-3C93-FF7B4F988E0D}"/>
                  </a:ext>
                </a:extLst>
              </p:cNvPr>
              <p:cNvSpPr/>
              <p:nvPr/>
            </p:nvSpPr>
            <p:spPr>
              <a:xfrm>
                <a:off x="11747740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8" name="Google Shape;1473;p142">
                <a:extLst>
                  <a:ext uri="{FF2B5EF4-FFF2-40B4-BE49-F238E27FC236}">
                    <a16:creationId xmlns:a16="http://schemas.microsoft.com/office/drawing/2014/main" id="{397653F9-AAC9-3B75-38EF-9EA7EDA16636}"/>
                  </a:ext>
                </a:extLst>
              </p:cNvPr>
              <p:cNvSpPr/>
              <p:nvPr/>
            </p:nvSpPr>
            <p:spPr>
              <a:xfrm>
                <a:off x="11748464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9" name="Google Shape;1474;p142">
                <a:extLst>
                  <a:ext uri="{FF2B5EF4-FFF2-40B4-BE49-F238E27FC236}">
                    <a16:creationId xmlns:a16="http://schemas.microsoft.com/office/drawing/2014/main" id="{CCFA0A01-559B-75B2-A862-1146BDB68E2D}"/>
                  </a:ext>
                </a:extLst>
              </p:cNvPr>
              <p:cNvSpPr/>
              <p:nvPr/>
            </p:nvSpPr>
            <p:spPr>
              <a:xfrm>
                <a:off x="11748464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0" name="Google Shape;1475;p142">
                <a:extLst>
                  <a:ext uri="{FF2B5EF4-FFF2-40B4-BE49-F238E27FC236}">
                    <a16:creationId xmlns:a16="http://schemas.microsoft.com/office/drawing/2014/main" id="{17A982B7-25FA-64E2-F34F-AE6DE247EC8E}"/>
                  </a:ext>
                </a:extLst>
              </p:cNvPr>
              <p:cNvSpPr/>
              <p:nvPr/>
            </p:nvSpPr>
            <p:spPr>
              <a:xfrm>
                <a:off x="11749187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1" name="Google Shape;1476;p142">
                <a:extLst>
                  <a:ext uri="{FF2B5EF4-FFF2-40B4-BE49-F238E27FC236}">
                    <a16:creationId xmlns:a16="http://schemas.microsoft.com/office/drawing/2014/main" id="{2C5277BD-BC90-3915-45C9-F4EFB79AFA3F}"/>
                  </a:ext>
                </a:extLst>
              </p:cNvPr>
              <p:cNvSpPr/>
              <p:nvPr/>
            </p:nvSpPr>
            <p:spPr>
              <a:xfrm>
                <a:off x="11749187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2" name="Google Shape;1477;p142">
                <a:extLst>
                  <a:ext uri="{FF2B5EF4-FFF2-40B4-BE49-F238E27FC236}">
                    <a16:creationId xmlns:a16="http://schemas.microsoft.com/office/drawing/2014/main" id="{F3F0711B-443A-7963-BEBC-89B13D5CE14C}"/>
                  </a:ext>
                </a:extLst>
              </p:cNvPr>
              <p:cNvSpPr/>
              <p:nvPr/>
            </p:nvSpPr>
            <p:spPr>
              <a:xfrm>
                <a:off x="11749187" y="2754020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3" name="Google Shape;1478;p142">
                <a:extLst>
                  <a:ext uri="{FF2B5EF4-FFF2-40B4-BE49-F238E27FC236}">
                    <a16:creationId xmlns:a16="http://schemas.microsoft.com/office/drawing/2014/main" id="{A53AED1A-4485-7149-1AFC-C6DE9944A01A}"/>
                  </a:ext>
                </a:extLst>
              </p:cNvPr>
              <p:cNvSpPr/>
              <p:nvPr/>
            </p:nvSpPr>
            <p:spPr>
              <a:xfrm>
                <a:off x="11749899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4" name="Google Shape;1479;p142">
                <a:extLst>
                  <a:ext uri="{FF2B5EF4-FFF2-40B4-BE49-F238E27FC236}">
                    <a16:creationId xmlns:a16="http://schemas.microsoft.com/office/drawing/2014/main" id="{7128CBF1-2E3F-56E0-36BE-86E2010D5983}"/>
                  </a:ext>
                </a:extLst>
              </p:cNvPr>
              <p:cNvSpPr/>
              <p:nvPr/>
            </p:nvSpPr>
            <p:spPr>
              <a:xfrm>
                <a:off x="11749899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5" name="Google Shape;1480;p142">
                <a:extLst>
                  <a:ext uri="{FF2B5EF4-FFF2-40B4-BE49-F238E27FC236}">
                    <a16:creationId xmlns:a16="http://schemas.microsoft.com/office/drawing/2014/main" id="{2C2CD43B-B31C-0255-9B04-A0533204C7BA}"/>
                  </a:ext>
                </a:extLst>
              </p:cNvPr>
              <p:cNvSpPr/>
              <p:nvPr/>
            </p:nvSpPr>
            <p:spPr>
              <a:xfrm>
                <a:off x="11750623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6" name="Google Shape;1481;p142">
                <a:extLst>
                  <a:ext uri="{FF2B5EF4-FFF2-40B4-BE49-F238E27FC236}">
                    <a16:creationId xmlns:a16="http://schemas.microsoft.com/office/drawing/2014/main" id="{B3140C9B-E6BD-08E3-79C0-34BC499B30BE}"/>
                  </a:ext>
                </a:extLst>
              </p:cNvPr>
              <p:cNvSpPr/>
              <p:nvPr/>
            </p:nvSpPr>
            <p:spPr>
              <a:xfrm>
                <a:off x="11750623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7" name="Google Shape;1482;p142">
                <a:extLst>
                  <a:ext uri="{FF2B5EF4-FFF2-40B4-BE49-F238E27FC236}">
                    <a16:creationId xmlns:a16="http://schemas.microsoft.com/office/drawing/2014/main" id="{709AD536-2BCD-EE93-10E4-864E3659FB08}"/>
                  </a:ext>
                </a:extLst>
              </p:cNvPr>
              <p:cNvSpPr/>
              <p:nvPr/>
            </p:nvSpPr>
            <p:spPr>
              <a:xfrm>
                <a:off x="11751346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8" name="Google Shape;1483;p142">
                <a:extLst>
                  <a:ext uri="{FF2B5EF4-FFF2-40B4-BE49-F238E27FC236}">
                    <a16:creationId xmlns:a16="http://schemas.microsoft.com/office/drawing/2014/main" id="{BFB02D87-3227-61A0-A6C7-445744D7CAAA}"/>
                  </a:ext>
                </a:extLst>
              </p:cNvPr>
              <p:cNvSpPr/>
              <p:nvPr/>
            </p:nvSpPr>
            <p:spPr>
              <a:xfrm>
                <a:off x="11751346" y="2754020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19" name="Google Shape;1484;p142">
                <a:extLst>
                  <a:ext uri="{FF2B5EF4-FFF2-40B4-BE49-F238E27FC236}">
                    <a16:creationId xmlns:a16="http://schemas.microsoft.com/office/drawing/2014/main" id="{A8D8D0D4-03F9-3319-2B02-9FA4F8E36B37}"/>
                  </a:ext>
                </a:extLst>
              </p:cNvPr>
              <p:cNvSpPr/>
              <p:nvPr/>
            </p:nvSpPr>
            <p:spPr>
              <a:xfrm>
                <a:off x="11751346" y="2754020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0" name="Google Shape;1485;p142">
                <a:extLst>
                  <a:ext uri="{FF2B5EF4-FFF2-40B4-BE49-F238E27FC236}">
                    <a16:creationId xmlns:a16="http://schemas.microsoft.com/office/drawing/2014/main" id="{C3B7B594-6B8D-09D0-31CF-5D755BF209AD}"/>
                  </a:ext>
                </a:extLst>
              </p:cNvPr>
              <p:cNvSpPr/>
              <p:nvPr/>
            </p:nvSpPr>
            <p:spPr>
              <a:xfrm>
                <a:off x="11752070" y="2753297"/>
                <a:ext cx="12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" h="63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1" name="Google Shape;1486;p142">
                <a:extLst>
                  <a:ext uri="{FF2B5EF4-FFF2-40B4-BE49-F238E27FC236}">
                    <a16:creationId xmlns:a16="http://schemas.microsoft.com/office/drawing/2014/main" id="{479DB0B1-EF69-54AF-60A5-B990824B23A7}"/>
                  </a:ext>
                </a:extLst>
              </p:cNvPr>
              <p:cNvSpPr/>
              <p:nvPr/>
            </p:nvSpPr>
            <p:spPr>
              <a:xfrm>
                <a:off x="11752070" y="2753297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2" name="Google Shape;1487;p142">
                <a:extLst>
                  <a:ext uri="{FF2B5EF4-FFF2-40B4-BE49-F238E27FC236}">
                    <a16:creationId xmlns:a16="http://schemas.microsoft.com/office/drawing/2014/main" id="{9A22A7A9-C4C9-B712-5F4B-4BE202FA26A3}"/>
                  </a:ext>
                </a:extLst>
              </p:cNvPr>
              <p:cNvSpPr/>
              <p:nvPr/>
            </p:nvSpPr>
            <p:spPr>
              <a:xfrm>
                <a:off x="11752793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3" name="Google Shape;1488;p142">
                <a:extLst>
                  <a:ext uri="{FF2B5EF4-FFF2-40B4-BE49-F238E27FC236}">
                    <a16:creationId xmlns:a16="http://schemas.microsoft.com/office/drawing/2014/main" id="{10F6FAC8-5286-EAC4-3FF1-5121B47F0637}"/>
                  </a:ext>
                </a:extLst>
              </p:cNvPr>
              <p:cNvSpPr/>
              <p:nvPr/>
            </p:nvSpPr>
            <p:spPr>
              <a:xfrm>
                <a:off x="11752793" y="2753297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4" name="Google Shape;1489;p142">
                <a:extLst>
                  <a:ext uri="{FF2B5EF4-FFF2-40B4-BE49-F238E27FC236}">
                    <a16:creationId xmlns:a16="http://schemas.microsoft.com/office/drawing/2014/main" id="{3B4F134A-AD85-774A-7FC7-E7AB412395FD}"/>
                  </a:ext>
                </a:extLst>
              </p:cNvPr>
              <p:cNvSpPr/>
              <p:nvPr/>
            </p:nvSpPr>
            <p:spPr>
              <a:xfrm>
                <a:off x="1175350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5" name="Google Shape;1490;p142">
                <a:extLst>
                  <a:ext uri="{FF2B5EF4-FFF2-40B4-BE49-F238E27FC236}">
                    <a16:creationId xmlns:a16="http://schemas.microsoft.com/office/drawing/2014/main" id="{7E638BBB-DCE7-D1BA-1333-0B7006D140A1}"/>
                  </a:ext>
                </a:extLst>
              </p:cNvPr>
              <p:cNvSpPr/>
              <p:nvPr/>
            </p:nvSpPr>
            <p:spPr>
              <a:xfrm>
                <a:off x="1175350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6" name="Google Shape;1491;p142">
                <a:extLst>
                  <a:ext uri="{FF2B5EF4-FFF2-40B4-BE49-F238E27FC236}">
                    <a16:creationId xmlns:a16="http://schemas.microsoft.com/office/drawing/2014/main" id="{04E737D6-FC51-4DF9-A5DB-DE798EAE528A}"/>
                  </a:ext>
                </a:extLst>
              </p:cNvPr>
              <p:cNvSpPr/>
              <p:nvPr/>
            </p:nvSpPr>
            <p:spPr>
              <a:xfrm>
                <a:off x="11754228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7" name="Google Shape;1492;p142">
                <a:extLst>
                  <a:ext uri="{FF2B5EF4-FFF2-40B4-BE49-F238E27FC236}">
                    <a16:creationId xmlns:a16="http://schemas.microsoft.com/office/drawing/2014/main" id="{919BCE55-7F17-AD2D-B066-A79B7F2F408D}"/>
                  </a:ext>
                </a:extLst>
              </p:cNvPr>
              <p:cNvSpPr/>
              <p:nvPr/>
            </p:nvSpPr>
            <p:spPr>
              <a:xfrm>
                <a:off x="11754228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8" name="Google Shape;1493;p142">
                <a:extLst>
                  <a:ext uri="{FF2B5EF4-FFF2-40B4-BE49-F238E27FC236}">
                    <a16:creationId xmlns:a16="http://schemas.microsoft.com/office/drawing/2014/main" id="{E5467A35-1F56-A0C4-6F6F-B8DB3C158928}"/>
                  </a:ext>
                </a:extLst>
              </p:cNvPr>
              <p:cNvSpPr/>
              <p:nvPr/>
            </p:nvSpPr>
            <p:spPr>
              <a:xfrm>
                <a:off x="11754228" y="2753297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29" name="Google Shape;1494;p142">
                <a:extLst>
                  <a:ext uri="{FF2B5EF4-FFF2-40B4-BE49-F238E27FC236}">
                    <a16:creationId xmlns:a16="http://schemas.microsoft.com/office/drawing/2014/main" id="{8ED1006F-37A3-FBFD-419C-B6AE4A027197}"/>
                  </a:ext>
                </a:extLst>
              </p:cNvPr>
              <p:cNvSpPr/>
              <p:nvPr/>
            </p:nvSpPr>
            <p:spPr>
              <a:xfrm>
                <a:off x="11754952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0" name="Google Shape;1495;p142">
                <a:extLst>
                  <a:ext uri="{FF2B5EF4-FFF2-40B4-BE49-F238E27FC236}">
                    <a16:creationId xmlns:a16="http://schemas.microsoft.com/office/drawing/2014/main" id="{5AB1D673-8DA0-820B-F80E-9B72F440D752}"/>
                  </a:ext>
                </a:extLst>
              </p:cNvPr>
              <p:cNvSpPr/>
              <p:nvPr/>
            </p:nvSpPr>
            <p:spPr>
              <a:xfrm>
                <a:off x="1175567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1" name="Google Shape;1496;p142">
                <a:extLst>
                  <a:ext uri="{FF2B5EF4-FFF2-40B4-BE49-F238E27FC236}">
                    <a16:creationId xmlns:a16="http://schemas.microsoft.com/office/drawing/2014/main" id="{F3111596-B632-4658-CDD1-99DCA3DFA592}"/>
                  </a:ext>
                </a:extLst>
              </p:cNvPr>
              <p:cNvSpPr/>
              <p:nvPr/>
            </p:nvSpPr>
            <p:spPr>
              <a:xfrm>
                <a:off x="1175567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2" name="Google Shape;1497;p142">
                <a:extLst>
                  <a:ext uri="{FF2B5EF4-FFF2-40B4-BE49-F238E27FC236}">
                    <a16:creationId xmlns:a16="http://schemas.microsoft.com/office/drawing/2014/main" id="{2C259E3D-4928-FCB3-2099-FE3853539C7F}"/>
                  </a:ext>
                </a:extLst>
              </p:cNvPr>
              <p:cNvSpPr/>
              <p:nvPr/>
            </p:nvSpPr>
            <p:spPr>
              <a:xfrm>
                <a:off x="11755675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3" name="Google Shape;1498;p142">
                <a:extLst>
                  <a:ext uri="{FF2B5EF4-FFF2-40B4-BE49-F238E27FC236}">
                    <a16:creationId xmlns:a16="http://schemas.microsoft.com/office/drawing/2014/main" id="{1D8BC28B-195D-7BD2-0A58-5B3C77559010}"/>
                  </a:ext>
                </a:extLst>
              </p:cNvPr>
              <p:cNvSpPr/>
              <p:nvPr/>
            </p:nvSpPr>
            <p:spPr>
              <a:xfrm>
                <a:off x="11756387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4" name="Google Shape;1499;p142">
                <a:extLst>
                  <a:ext uri="{FF2B5EF4-FFF2-40B4-BE49-F238E27FC236}">
                    <a16:creationId xmlns:a16="http://schemas.microsoft.com/office/drawing/2014/main" id="{458F51EA-004F-672B-FEC6-AC16DA4DED83}"/>
                  </a:ext>
                </a:extLst>
              </p:cNvPr>
              <p:cNvSpPr/>
              <p:nvPr/>
            </p:nvSpPr>
            <p:spPr>
              <a:xfrm>
                <a:off x="11756387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5" name="Google Shape;1500;p142">
                <a:extLst>
                  <a:ext uri="{FF2B5EF4-FFF2-40B4-BE49-F238E27FC236}">
                    <a16:creationId xmlns:a16="http://schemas.microsoft.com/office/drawing/2014/main" id="{73DCBD7D-9D5B-4A72-B0F4-C62A2BF62AAF}"/>
                  </a:ext>
                </a:extLst>
              </p:cNvPr>
              <p:cNvSpPr/>
              <p:nvPr/>
            </p:nvSpPr>
            <p:spPr>
              <a:xfrm>
                <a:off x="11757111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6" name="Google Shape;1501;p142">
                <a:extLst>
                  <a:ext uri="{FF2B5EF4-FFF2-40B4-BE49-F238E27FC236}">
                    <a16:creationId xmlns:a16="http://schemas.microsoft.com/office/drawing/2014/main" id="{2B515B46-28AC-CA7D-5A8C-F0765E942FEA}"/>
                  </a:ext>
                </a:extLst>
              </p:cNvPr>
              <p:cNvSpPr/>
              <p:nvPr/>
            </p:nvSpPr>
            <p:spPr>
              <a:xfrm>
                <a:off x="11757111" y="2753297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7" name="Google Shape;1502;p142">
                <a:extLst>
                  <a:ext uri="{FF2B5EF4-FFF2-40B4-BE49-F238E27FC236}">
                    <a16:creationId xmlns:a16="http://schemas.microsoft.com/office/drawing/2014/main" id="{ACB4265B-EEB4-701B-E223-A4BA367A3394}"/>
                  </a:ext>
                </a:extLst>
              </p:cNvPr>
              <p:cNvSpPr/>
              <p:nvPr/>
            </p:nvSpPr>
            <p:spPr>
              <a:xfrm>
                <a:off x="11757834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8" name="Google Shape;1503;p142">
                <a:extLst>
                  <a:ext uri="{FF2B5EF4-FFF2-40B4-BE49-F238E27FC236}">
                    <a16:creationId xmlns:a16="http://schemas.microsoft.com/office/drawing/2014/main" id="{16163FF1-E136-F1D9-541C-84FDA291A4A5}"/>
                  </a:ext>
                </a:extLst>
              </p:cNvPr>
              <p:cNvSpPr/>
              <p:nvPr/>
            </p:nvSpPr>
            <p:spPr>
              <a:xfrm>
                <a:off x="11757834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39" name="Google Shape;1504;p142">
                <a:extLst>
                  <a:ext uri="{FF2B5EF4-FFF2-40B4-BE49-F238E27FC236}">
                    <a16:creationId xmlns:a16="http://schemas.microsoft.com/office/drawing/2014/main" id="{A3E96C72-3E05-BD23-2932-2623480F8DD1}"/>
                  </a:ext>
                </a:extLst>
              </p:cNvPr>
              <p:cNvSpPr/>
              <p:nvPr/>
            </p:nvSpPr>
            <p:spPr>
              <a:xfrm>
                <a:off x="11757834" y="2752585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0" name="Google Shape;1505;p142">
                <a:extLst>
                  <a:ext uri="{FF2B5EF4-FFF2-40B4-BE49-F238E27FC236}">
                    <a16:creationId xmlns:a16="http://schemas.microsoft.com/office/drawing/2014/main" id="{1BD87237-51CA-1CE6-2B9B-CAD2FDAC432F}"/>
                  </a:ext>
                </a:extLst>
              </p:cNvPr>
              <p:cNvSpPr/>
              <p:nvPr/>
            </p:nvSpPr>
            <p:spPr>
              <a:xfrm>
                <a:off x="11758558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1" name="Google Shape;1506;p142">
                <a:extLst>
                  <a:ext uri="{FF2B5EF4-FFF2-40B4-BE49-F238E27FC236}">
                    <a16:creationId xmlns:a16="http://schemas.microsoft.com/office/drawing/2014/main" id="{B340CF26-C8CF-DCE0-6B38-86E81619B4B1}"/>
                  </a:ext>
                </a:extLst>
              </p:cNvPr>
              <p:cNvSpPr/>
              <p:nvPr/>
            </p:nvSpPr>
            <p:spPr>
              <a:xfrm>
                <a:off x="11758558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2" name="Google Shape;1507;p142">
                <a:extLst>
                  <a:ext uri="{FF2B5EF4-FFF2-40B4-BE49-F238E27FC236}">
                    <a16:creationId xmlns:a16="http://schemas.microsoft.com/office/drawing/2014/main" id="{832A3AAD-C893-4A4F-91D5-81F4AB7E4762}"/>
                  </a:ext>
                </a:extLst>
              </p:cNvPr>
              <p:cNvSpPr/>
              <p:nvPr/>
            </p:nvSpPr>
            <p:spPr>
              <a:xfrm>
                <a:off x="11758558" y="2752585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3" name="Google Shape;1508;p142">
                <a:extLst>
                  <a:ext uri="{FF2B5EF4-FFF2-40B4-BE49-F238E27FC236}">
                    <a16:creationId xmlns:a16="http://schemas.microsoft.com/office/drawing/2014/main" id="{B9065DB2-5811-05BC-BC8E-6685864BCB2C}"/>
                  </a:ext>
                </a:extLst>
              </p:cNvPr>
              <p:cNvSpPr/>
              <p:nvPr/>
            </p:nvSpPr>
            <p:spPr>
              <a:xfrm>
                <a:off x="11759270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4" name="Google Shape;1509;p142">
                <a:extLst>
                  <a:ext uri="{FF2B5EF4-FFF2-40B4-BE49-F238E27FC236}">
                    <a16:creationId xmlns:a16="http://schemas.microsoft.com/office/drawing/2014/main" id="{BC6FCF96-ACB7-D018-4DB1-0B51DD8EA18D}"/>
                  </a:ext>
                </a:extLst>
              </p:cNvPr>
              <p:cNvSpPr/>
              <p:nvPr/>
            </p:nvSpPr>
            <p:spPr>
              <a:xfrm>
                <a:off x="11759270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5" name="Google Shape;1510;p142">
                <a:extLst>
                  <a:ext uri="{FF2B5EF4-FFF2-40B4-BE49-F238E27FC236}">
                    <a16:creationId xmlns:a16="http://schemas.microsoft.com/office/drawing/2014/main" id="{6EA79518-C88C-B20D-B4DD-9BBB5C3DACB9}"/>
                  </a:ext>
                </a:extLst>
              </p:cNvPr>
              <p:cNvSpPr/>
              <p:nvPr/>
            </p:nvSpPr>
            <p:spPr>
              <a:xfrm>
                <a:off x="11759270" y="2752585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0"/>
                    </a:moveTo>
                    <a:lnTo>
                      <a:pt x="6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6" name="Google Shape;1511;p142">
                <a:extLst>
                  <a:ext uri="{FF2B5EF4-FFF2-40B4-BE49-F238E27FC236}">
                    <a16:creationId xmlns:a16="http://schemas.microsoft.com/office/drawing/2014/main" id="{FA90A33A-9E7A-6765-EFF3-DD16DAC35DFD}"/>
                  </a:ext>
                </a:extLst>
              </p:cNvPr>
              <p:cNvSpPr/>
              <p:nvPr/>
            </p:nvSpPr>
            <p:spPr>
              <a:xfrm>
                <a:off x="11759993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7" name="Google Shape;1512;p142">
                <a:extLst>
                  <a:ext uri="{FF2B5EF4-FFF2-40B4-BE49-F238E27FC236}">
                    <a16:creationId xmlns:a16="http://schemas.microsoft.com/office/drawing/2014/main" id="{4DD86236-CF47-6F02-3CAF-45EDA1ED219F}"/>
                  </a:ext>
                </a:extLst>
              </p:cNvPr>
              <p:cNvSpPr/>
              <p:nvPr/>
            </p:nvSpPr>
            <p:spPr>
              <a:xfrm>
                <a:off x="11759993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8" name="Google Shape;1513;p142">
                <a:extLst>
                  <a:ext uri="{FF2B5EF4-FFF2-40B4-BE49-F238E27FC236}">
                    <a16:creationId xmlns:a16="http://schemas.microsoft.com/office/drawing/2014/main" id="{6F6DD3DE-8D1D-9E85-78CF-6E5977D8A4F0}"/>
                  </a:ext>
                </a:extLst>
              </p:cNvPr>
              <p:cNvSpPr/>
              <p:nvPr/>
            </p:nvSpPr>
            <p:spPr>
              <a:xfrm>
                <a:off x="11760717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9" name="Google Shape;1514;p142">
                <a:extLst>
                  <a:ext uri="{FF2B5EF4-FFF2-40B4-BE49-F238E27FC236}">
                    <a16:creationId xmlns:a16="http://schemas.microsoft.com/office/drawing/2014/main" id="{0BE8E27B-5F33-A709-50D4-A3E9B2E83161}"/>
                  </a:ext>
                </a:extLst>
              </p:cNvPr>
              <p:cNvSpPr/>
              <p:nvPr/>
            </p:nvSpPr>
            <p:spPr>
              <a:xfrm>
                <a:off x="11760717" y="2752585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0" name="Google Shape;1515;p142">
                <a:extLst>
                  <a:ext uri="{FF2B5EF4-FFF2-40B4-BE49-F238E27FC236}">
                    <a16:creationId xmlns:a16="http://schemas.microsoft.com/office/drawing/2014/main" id="{FB7494D9-5AED-9B9E-12EA-D1ADBCEE6C15}"/>
                  </a:ext>
                </a:extLst>
              </p:cNvPr>
              <p:cNvSpPr/>
              <p:nvPr/>
            </p:nvSpPr>
            <p:spPr>
              <a:xfrm>
                <a:off x="11761440" y="275258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1" name="Google Shape;1516;p142">
                <a:extLst>
                  <a:ext uri="{FF2B5EF4-FFF2-40B4-BE49-F238E27FC236}">
                    <a16:creationId xmlns:a16="http://schemas.microsoft.com/office/drawing/2014/main" id="{C5823803-7E6B-2B7A-044A-D55C45E173B3}"/>
                  </a:ext>
                </a:extLst>
              </p:cNvPr>
              <p:cNvSpPr/>
              <p:nvPr/>
            </p:nvSpPr>
            <p:spPr>
              <a:xfrm>
                <a:off x="11761440" y="2751862"/>
                <a:ext cx="12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" h="63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2" name="Google Shape;1517;p142">
                <a:extLst>
                  <a:ext uri="{FF2B5EF4-FFF2-40B4-BE49-F238E27FC236}">
                    <a16:creationId xmlns:a16="http://schemas.microsoft.com/office/drawing/2014/main" id="{8C692059-1FF9-F27E-6E26-932CABD10B93}"/>
                  </a:ext>
                </a:extLst>
              </p:cNvPr>
              <p:cNvSpPr/>
              <p:nvPr/>
            </p:nvSpPr>
            <p:spPr>
              <a:xfrm>
                <a:off x="11762164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3" name="Google Shape;1518;p142">
                <a:extLst>
                  <a:ext uri="{FF2B5EF4-FFF2-40B4-BE49-F238E27FC236}">
                    <a16:creationId xmlns:a16="http://schemas.microsoft.com/office/drawing/2014/main" id="{901E762B-EED0-6EEF-EF34-3F4F347CE6B9}"/>
                  </a:ext>
                </a:extLst>
              </p:cNvPr>
              <p:cNvSpPr/>
              <p:nvPr/>
            </p:nvSpPr>
            <p:spPr>
              <a:xfrm>
                <a:off x="11762164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4" name="Google Shape;1519;p142">
                <a:extLst>
                  <a:ext uri="{FF2B5EF4-FFF2-40B4-BE49-F238E27FC236}">
                    <a16:creationId xmlns:a16="http://schemas.microsoft.com/office/drawing/2014/main" id="{4320A399-BBCF-EED1-8531-549292774D0D}"/>
                  </a:ext>
                </a:extLst>
              </p:cNvPr>
              <p:cNvSpPr/>
              <p:nvPr/>
            </p:nvSpPr>
            <p:spPr>
              <a:xfrm>
                <a:off x="11762164" y="2751862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5" name="Google Shape;1520;p142">
                <a:extLst>
                  <a:ext uri="{FF2B5EF4-FFF2-40B4-BE49-F238E27FC236}">
                    <a16:creationId xmlns:a16="http://schemas.microsoft.com/office/drawing/2014/main" id="{FAFC11F5-1498-1EBC-3DC7-02D08703EE4C}"/>
                  </a:ext>
                </a:extLst>
              </p:cNvPr>
              <p:cNvSpPr/>
              <p:nvPr/>
            </p:nvSpPr>
            <p:spPr>
              <a:xfrm>
                <a:off x="11762876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6" name="Google Shape;1521;p142">
                <a:extLst>
                  <a:ext uri="{FF2B5EF4-FFF2-40B4-BE49-F238E27FC236}">
                    <a16:creationId xmlns:a16="http://schemas.microsoft.com/office/drawing/2014/main" id="{610AB701-3645-AC37-05D1-EC3C98F8BA8B}"/>
                  </a:ext>
                </a:extLst>
              </p:cNvPr>
              <p:cNvSpPr/>
              <p:nvPr/>
            </p:nvSpPr>
            <p:spPr>
              <a:xfrm>
                <a:off x="11762876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7" name="Google Shape;1522;p142">
                <a:extLst>
                  <a:ext uri="{FF2B5EF4-FFF2-40B4-BE49-F238E27FC236}">
                    <a16:creationId xmlns:a16="http://schemas.microsoft.com/office/drawing/2014/main" id="{236D2A6F-EE8C-FA0E-7D2D-688541CA1B54}"/>
                  </a:ext>
                </a:extLst>
              </p:cNvPr>
              <p:cNvSpPr/>
              <p:nvPr/>
            </p:nvSpPr>
            <p:spPr>
              <a:xfrm>
                <a:off x="11762876" y="275186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0"/>
                    </a:moveTo>
                    <a:lnTo>
                      <a:pt x="6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3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8" name="Google Shape;1523;p142">
                <a:extLst>
                  <a:ext uri="{FF2B5EF4-FFF2-40B4-BE49-F238E27FC236}">
                    <a16:creationId xmlns:a16="http://schemas.microsoft.com/office/drawing/2014/main" id="{C80700D4-5A1E-FB37-5E64-B60DA5CA5192}"/>
                  </a:ext>
                </a:extLst>
              </p:cNvPr>
              <p:cNvSpPr/>
              <p:nvPr/>
            </p:nvSpPr>
            <p:spPr>
              <a:xfrm>
                <a:off x="11763599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9" name="Google Shape;1524;p142">
                <a:extLst>
                  <a:ext uri="{FF2B5EF4-FFF2-40B4-BE49-F238E27FC236}">
                    <a16:creationId xmlns:a16="http://schemas.microsoft.com/office/drawing/2014/main" id="{DE33355A-2114-1D4C-6C4D-666B03F03AD9}"/>
                  </a:ext>
                </a:extLst>
              </p:cNvPr>
              <p:cNvSpPr/>
              <p:nvPr/>
            </p:nvSpPr>
            <p:spPr>
              <a:xfrm>
                <a:off x="11763599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0" name="Google Shape;1525;p142">
                <a:extLst>
                  <a:ext uri="{FF2B5EF4-FFF2-40B4-BE49-F238E27FC236}">
                    <a16:creationId xmlns:a16="http://schemas.microsoft.com/office/drawing/2014/main" id="{337D7908-59E2-179C-44CA-00033F581B7E}"/>
                  </a:ext>
                </a:extLst>
              </p:cNvPr>
              <p:cNvSpPr/>
              <p:nvPr/>
            </p:nvSpPr>
            <p:spPr>
              <a:xfrm>
                <a:off x="11763599" y="2751862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0"/>
                    </a:moveTo>
                    <a:lnTo>
                      <a:pt x="6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2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1" name="Google Shape;1526;p142">
                <a:extLst>
                  <a:ext uri="{FF2B5EF4-FFF2-40B4-BE49-F238E27FC236}">
                    <a16:creationId xmlns:a16="http://schemas.microsoft.com/office/drawing/2014/main" id="{8D8191BD-FF5A-5F08-FED2-29D7ECC3E93B}"/>
                  </a:ext>
                </a:extLst>
              </p:cNvPr>
              <p:cNvSpPr/>
              <p:nvPr/>
            </p:nvSpPr>
            <p:spPr>
              <a:xfrm>
                <a:off x="11764323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2" name="Google Shape;1527;p142">
                <a:extLst>
                  <a:ext uri="{FF2B5EF4-FFF2-40B4-BE49-F238E27FC236}">
                    <a16:creationId xmlns:a16="http://schemas.microsoft.com/office/drawing/2014/main" id="{09F72860-36CD-ACB1-9AD9-80741EAD552C}"/>
                  </a:ext>
                </a:extLst>
              </p:cNvPr>
              <p:cNvSpPr/>
              <p:nvPr/>
            </p:nvSpPr>
            <p:spPr>
              <a:xfrm>
                <a:off x="11764323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3" name="Google Shape;1528;p142">
                <a:extLst>
                  <a:ext uri="{FF2B5EF4-FFF2-40B4-BE49-F238E27FC236}">
                    <a16:creationId xmlns:a16="http://schemas.microsoft.com/office/drawing/2014/main" id="{A690D03D-9A3A-B20A-47F8-8D5E9E04A3C6}"/>
                  </a:ext>
                </a:extLst>
              </p:cNvPr>
              <p:cNvSpPr/>
              <p:nvPr/>
            </p:nvSpPr>
            <p:spPr>
              <a:xfrm>
                <a:off x="11765046" y="2751862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4" name="Google Shape;1529;p142">
                <a:extLst>
                  <a:ext uri="{FF2B5EF4-FFF2-40B4-BE49-F238E27FC236}">
                    <a16:creationId xmlns:a16="http://schemas.microsoft.com/office/drawing/2014/main" id="{953B2A7E-B14D-EBF1-7874-D3BE4597BB24}"/>
                  </a:ext>
                </a:extLst>
              </p:cNvPr>
              <p:cNvSpPr/>
              <p:nvPr/>
            </p:nvSpPr>
            <p:spPr>
              <a:xfrm>
                <a:off x="11765046" y="2751138"/>
                <a:ext cx="12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" h="63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5" name="Google Shape;1530;p142">
                <a:extLst>
                  <a:ext uri="{FF2B5EF4-FFF2-40B4-BE49-F238E27FC236}">
                    <a16:creationId xmlns:a16="http://schemas.microsoft.com/office/drawing/2014/main" id="{297A3119-AD1F-4C6A-747E-DCE4413B3BFE}"/>
                  </a:ext>
                </a:extLst>
              </p:cNvPr>
              <p:cNvSpPr/>
              <p:nvPr/>
            </p:nvSpPr>
            <p:spPr>
              <a:xfrm>
                <a:off x="11765046" y="2751138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6" name="Google Shape;1531;p142">
                <a:extLst>
                  <a:ext uri="{FF2B5EF4-FFF2-40B4-BE49-F238E27FC236}">
                    <a16:creationId xmlns:a16="http://schemas.microsoft.com/office/drawing/2014/main" id="{3AEA30EB-6CBB-241E-2216-1D85F41B9272}"/>
                  </a:ext>
                </a:extLst>
              </p:cNvPr>
              <p:cNvSpPr/>
              <p:nvPr/>
            </p:nvSpPr>
            <p:spPr>
              <a:xfrm>
                <a:off x="11765758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7" name="Google Shape;1532;p142">
                <a:extLst>
                  <a:ext uri="{FF2B5EF4-FFF2-40B4-BE49-F238E27FC236}">
                    <a16:creationId xmlns:a16="http://schemas.microsoft.com/office/drawing/2014/main" id="{DCE1D313-D3BC-8B71-7AF1-D04681C0B035}"/>
                  </a:ext>
                </a:extLst>
              </p:cNvPr>
              <p:cNvSpPr/>
              <p:nvPr/>
            </p:nvSpPr>
            <p:spPr>
              <a:xfrm>
                <a:off x="11765758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8" name="Google Shape;1533;p142">
                <a:extLst>
                  <a:ext uri="{FF2B5EF4-FFF2-40B4-BE49-F238E27FC236}">
                    <a16:creationId xmlns:a16="http://schemas.microsoft.com/office/drawing/2014/main" id="{B460BF61-EE31-CC99-E763-408538CE4163}"/>
                  </a:ext>
                </a:extLst>
              </p:cNvPr>
              <p:cNvSpPr/>
              <p:nvPr/>
            </p:nvSpPr>
            <p:spPr>
              <a:xfrm>
                <a:off x="11765758" y="2751138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9" name="Google Shape;1534;p142">
                <a:extLst>
                  <a:ext uri="{FF2B5EF4-FFF2-40B4-BE49-F238E27FC236}">
                    <a16:creationId xmlns:a16="http://schemas.microsoft.com/office/drawing/2014/main" id="{A5E6EA1A-36E0-0908-0E09-CB19A9A1F782}"/>
                  </a:ext>
                </a:extLst>
              </p:cNvPr>
              <p:cNvSpPr/>
              <p:nvPr/>
            </p:nvSpPr>
            <p:spPr>
              <a:xfrm>
                <a:off x="11766481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0" name="Google Shape;1535;p142">
                <a:extLst>
                  <a:ext uri="{FF2B5EF4-FFF2-40B4-BE49-F238E27FC236}">
                    <a16:creationId xmlns:a16="http://schemas.microsoft.com/office/drawing/2014/main" id="{F7E43B2E-0F74-227E-F398-13A41B5D0D9F}"/>
                  </a:ext>
                </a:extLst>
              </p:cNvPr>
              <p:cNvSpPr/>
              <p:nvPr/>
            </p:nvSpPr>
            <p:spPr>
              <a:xfrm>
                <a:off x="11766481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1" name="Google Shape;1536;p142">
                <a:extLst>
                  <a:ext uri="{FF2B5EF4-FFF2-40B4-BE49-F238E27FC236}">
                    <a16:creationId xmlns:a16="http://schemas.microsoft.com/office/drawing/2014/main" id="{3E458225-D2BD-0CF9-CF7D-8F6D944975AD}"/>
                  </a:ext>
                </a:extLst>
              </p:cNvPr>
              <p:cNvSpPr/>
              <p:nvPr/>
            </p:nvSpPr>
            <p:spPr>
              <a:xfrm>
                <a:off x="11766481" y="2751138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2" name="Google Shape;1537;p142">
                <a:extLst>
                  <a:ext uri="{FF2B5EF4-FFF2-40B4-BE49-F238E27FC236}">
                    <a16:creationId xmlns:a16="http://schemas.microsoft.com/office/drawing/2014/main" id="{C4F58238-87FC-540F-73BE-DF7DE30A5167}"/>
                  </a:ext>
                </a:extLst>
              </p:cNvPr>
              <p:cNvSpPr/>
              <p:nvPr/>
            </p:nvSpPr>
            <p:spPr>
              <a:xfrm>
                <a:off x="11767205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3" name="Google Shape;1538;p142">
                <a:extLst>
                  <a:ext uri="{FF2B5EF4-FFF2-40B4-BE49-F238E27FC236}">
                    <a16:creationId xmlns:a16="http://schemas.microsoft.com/office/drawing/2014/main" id="{FEA6B4C4-D276-C126-D743-8E4DE3DDEEF4}"/>
                  </a:ext>
                </a:extLst>
              </p:cNvPr>
              <p:cNvSpPr/>
              <p:nvPr/>
            </p:nvSpPr>
            <p:spPr>
              <a:xfrm>
                <a:off x="11767205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4" name="Google Shape;1539;p142">
                <a:extLst>
                  <a:ext uri="{FF2B5EF4-FFF2-40B4-BE49-F238E27FC236}">
                    <a16:creationId xmlns:a16="http://schemas.microsoft.com/office/drawing/2014/main" id="{E9453F76-68FE-1E9B-96B0-7741E23303C8}"/>
                  </a:ext>
                </a:extLst>
              </p:cNvPr>
              <p:cNvSpPr/>
              <p:nvPr/>
            </p:nvSpPr>
            <p:spPr>
              <a:xfrm>
                <a:off x="11767205" y="2751138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5" name="Google Shape;1540;p142">
                <a:extLst>
                  <a:ext uri="{FF2B5EF4-FFF2-40B4-BE49-F238E27FC236}">
                    <a16:creationId xmlns:a16="http://schemas.microsoft.com/office/drawing/2014/main" id="{19B04842-BF11-3923-EC38-1C1E9DA2A7E7}"/>
                  </a:ext>
                </a:extLst>
              </p:cNvPr>
              <p:cNvSpPr/>
              <p:nvPr/>
            </p:nvSpPr>
            <p:spPr>
              <a:xfrm>
                <a:off x="11767928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6" name="Google Shape;1541;p142">
                <a:extLst>
                  <a:ext uri="{FF2B5EF4-FFF2-40B4-BE49-F238E27FC236}">
                    <a16:creationId xmlns:a16="http://schemas.microsoft.com/office/drawing/2014/main" id="{872E6B7C-EC41-62E4-B03E-4069077AB94F}"/>
                  </a:ext>
                </a:extLst>
              </p:cNvPr>
              <p:cNvSpPr/>
              <p:nvPr/>
            </p:nvSpPr>
            <p:spPr>
              <a:xfrm>
                <a:off x="11767928" y="2751138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7" name="Google Shape;1542;p142">
                <a:extLst>
                  <a:ext uri="{FF2B5EF4-FFF2-40B4-BE49-F238E27FC236}">
                    <a16:creationId xmlns:a16="http://schemas.microsoft.com/office/drawing/2014/main" id="{00CFB09D-DBC9-B9A5-0068-10CEA0C54FD4}"/>
                  </a:ext>
                </a:extLst>
              </p:cNvPr>
              <p:cNvSpPr/>
              <p:nvPr/>
            </p:nvSpPr>
            <p:spPr>
              <a:xfrm>
                <a:off x="11767928" y="2751138"/>
                <a:ext cx="724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2" h="1" fill="none" extrusionOk="0">
                    <a:moveTo>
                      <a:pt x="62" y="1"/>
                    </a:moveTo>
                    <a:lnTo>
                      <a:pt x="6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8" name="Google Shape;1543;p142">
                <a:extLst>
                  <a:ext uri="{FF2B5EF4-FFF2-40B4-BE49-F238E27FC236}">
                    <a16:creationId xmlns:a16="http://schemas.microsoft.com/office/drawing/2014/main" id="{6FCFBD40-7BD7-526A-15B5-C84CA8B33A61}"/>
                  </a:ext>
                </a:extLst>
              </p:cNvPr>
              <p:cNvSpPr/>
              <p:nvPr/>
            </p:nvSpPr>
            <p:spPr>
              <a:xfrm>
                <a:off x="11768640" y="2750415"/>
                <a:ext cx="12" cy="736"/>
              </a:xfrm>
              <a:custGeom>
                <a:avLst/>
                <a:gdLst/>
                <a:ahLst/>
                <a:cxnLst/>
                <a:rect l="l" t="t" r="r" b="b"/>
                <a:pathLst>
                  <a:path w="1" h="63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63"/>
                    </a:lnTo>
                    <a:lnTo>
                      <a:pt x="1" y="63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79" name="Google Shape;1544;p142">
                <a:extLst>
                  <a:ext uri="{FF2B5EF4-FFF2-40B4-BE49-F238E27FC236}">
                    <a16:creationId xmlns:a16="http://schemas.microsoft.com/office/drawing/2014/main" id="{9DA27C30-F8AA-2197-336A-381D60C73E01}"/>
                  </a:ext>
                </a:extLst>
              </p:cNvPr>
              <p:cNvSpPr/>
              <p:nvPr/>
            </p:nvSpPr>
            <p:spPr>
              <a:xfrm>
                <a:off x="11768640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0" name="Google Shape;1545;p142">
                <a:extLst>
                  <a:ext uri="{FF2B5EF4-FFF2-40B4-BE49-F238E27FC236}">
                    <a16:creationId xmlns:a16="http://schemas.microsoft.com/office/drawing/2014/main" id="{0432C773-FA83-1445-8FD7-7A7DA1467A16}"/>
                  </a:ext>
                </a:extLst>
              </p:cNvPr>
              <p:cNvSpPr/>
              <p:nvPr/>
            </p:nvSpPr>
            <p:spPr>
              <a:xfrm>
                <a:off x="11768640" y="2750415"/>
                <a:ext cx="735" cy="12"/>
              </a:xfrm>
              <a:custGeom>
                <a:avLst/>
                <a:gdLst/>
                <a:ahLst/>
                <a:cxnLst/>
                <a:rect l="l" t="t" r="r" b="b"/>
                <a:pathLst>
                  <a:path w="63" h="1" fill="none" extrusionOk="0">
                    <a:moveTo>
                      <a:pt x="63" y="1"/>
                    </a:moveTo>
                    <a:lnTo>
                      <a:pt x="6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63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1" name="Google Shape;1546;p142">
                <a:extLst>
                  <a:ext uri="{FF2B5EF4-FFF2-40B4-BE49-F238E27FC236}">
                    <a16:creationId xmlns:a16="http://schemas.microsoft.com/office/drawing/2014/main" id="{0E62ABAA-E847-3725-1A5E-2E3C0C991B2E}"/>
                  </a:ext>
                </a:extLst>
              </p:cNvPr>
              <p:cNvSpPr/>
              <p:nvPr/>
            </p:nvSpPr>
            <p:spPr>
              <a:xfrm>
                <a:off x="11769364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2" name="Google Shape;1547;p142">
                <a:extLst>
                  <a:ext uri="{FF2B5EF4-FFF2-40B4-BE49-F238E27FC236}">
                    <a16:creationId xmlns:a16="http://schemas.microsoft.com/office/drawing/2014/main" id="{1245D755-DA8E-1BB0-F4A6-60055DBE1528}"/>
                  </a:ext>
                </a:extLst>
              </p:cNvPr>
              <p:cNvSpPr/>
              <p:nvPr/>
            </p:nvSpPr>
            <p:spPr>
              <a:xfrm>
                <a:off x="11769364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3" name="Google Shape;1548;p142">
                <a:extLst>
                  <a:ext uri="{FF2B5EF4-FFF2-40B4-BE49-F238E27FC236}">
                    <a16:creationId xmlns:a16="http://schemas.microsoft.com/office/drawing/2014/main" id="{72641C04-B4A3-593A-75DE-EAC93E6B0ABB}"/>
                  </a:ext>
                </a:extLst>
              </p:cNvPr>
              <p:cNvSpPr/>
              <p:nvPr/>
            </p:nvSpPr>
            <p:spPr>
              <a:xfrm>
                <a:off x="11769364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4" name="Google Shape;1549;p142">
                <a:extLst>
                  <a:ext uri="{FF2B5EF4-FFF2-40B4-BE49-F238E27FC236}">
                    <a16:creationId xmlns:a16="http://schemas.microsoft.com/office/drawing/2014/main" id="{269F6F82-8DC3-BE12-1771-03073B9057B6}"/>
                  </a:ext>
                </a:extLst>
              </p:cNvPr>
              <p:cNvSpPr/>
              <p:nvPr/>
            </p:nvSpPr>
            <p:spPr>
              <a:xfrm>
                <a:off x="11770087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5" name="Google Shape;1550;p142">
                <a:extLst>
                  <a:ext uri="{FF2B5EF4-FFF2-40B4-BE49-F238E27FC236}">
                    <a16:creationId xmlns:a16="http://schemas.microsoft.com/office/drawing/2014/main" id="{10382498-BBB6-4472-C7AB-E06869E780FD}"/>
                  </a:ext>
                </a:extLst>
              </p:cNvPr>
              <p:cNvSpPr/>
              <p:nvPr/>
            </p:nvSpPr>
            <p:spPr>
              <a:xfrm>
                <a:off x="11770087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6" name="Google Shape;1551;p142">
                <a:extLst>
                  <a:ext uri="{FF2B5EF4-FFF2-40B4-BE49-F238E27FC236}">
                    <a16:creationId xmlns:a16="http://schemas.microsoft.com/office/drawing/2014/main" id="{48DDB50E-8FCF-28F1-73F4-BEFD574BEC91}"/>
                  </a:ext>
                </a:extLst>
              </p:cNvPr>
              <p:cNvSpPr/>
              <p:nvPr/>
            </p:nvSpPr>
            <p:spPr>
              <a:xfrm>
                <a:off x="11770087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7" name="Google Shape;1552;p142">
                <a:extLst>
                  <a:ext uri="{FF2B5EF4-FFF2-40B4-BE49-F238E27FC236}">
                    <a16:creationId xmlns:a16="http://schemas.microsoft.com/office/drawing/2014/main" id="{1FEF606F-17E8-8665-389F-8E49C264D3B6}"/>
                  </a:ext>
                </a:extLst>
              </p:cNvPr>
              <p:cNvSpPr/>
              <p:nvPr/>
            </p:nvSpPr>
            <p:spPr>
              <a:xfrm>
                <a:off x="11770811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8" name="Google Shape;1553;p142">
                <a:extLst>
                  <a:ext uri="{FF2B5EF4-FFF2-40B4-BE49-F238E27FC236}">
                    <a16:creationId xmlns:a16="http://schemas.microsoft.com/office/drawing/2014/main" id="{66346ECB-58BA-50B9-DD72-66D5BCF05AF3}"/>
                  </a:ext>
                </a:extLst>
              </p:cNvPr>
              <p:cNvSpPr/>
              <p:nvPr/>
            </p:nvSpPr>
            <p:spPr>
              <a:xfrm>
                <a:off x="11770811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89" name="Google Shape;1554;p142">
                <a:extLst>
                  <a:ext uri="{FF2B5EF4-FFF2-40B4-BE49-F238E27FC236}">
                    <a16:creationId xmlns:a16="http://schemas.microsoft.com/office/drawing/2014/main" id="{564A926E-6CC6-6BF7-EA98-6A50E0CBE90F}"/>
                  </a:ext>
                </a:extLst>
              </p:cNvPr>
              <p:cNvSpPr/>
              <p:nvPr/>
            </p:nvSpPr>
            <p:spPr>
              <a:xfrm>
                <a:off x="11770811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0" name="Google Shape;1555;p142">
                <a:extLst>
                  <a:ext uri="{FF2B5EF4-FFF2-40B4-BE49-F238E27FC236}">
                    <a16:creationId xmlns:a16="http://schemas.microsoft.com/office/drawing/2014/main" id="{43E15D57-2153-F5B3-526A-77B48F68E86F}"/>
                  </a:ext>
                </a:extLst>
              </p:cNvPr>
              <p:cNvSpPr/>
              <p:nvPr/>
            </p:nvSpPr>
            <p:spPr>
              <a:xfrm>
                <a:off x="11771534" y="2750415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1" name="Google Shape;1556;p142">
                <a:extLst>
                  <a:ext uri="{FF2B5EF4-FFF2-40B4-BE49-F238E27FC236}">
                    <a16:creationId xmlns:a16="http://schemas.microsoft.com/office/drawing/2014/main" id="{A21D5ED5-9D7E-DB6D-A75E-2722B209F576}"/>
                  </a:ext>
                </a:extLst>
              </p:cNvPr>
              <p:cNvSpPr/>
              <p:nvPr/>
            </p:nvSpPr>
            <p:spPr>
              <a:xfrm>
                <a:off x="11771534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2" name="Google Shape;1557;p142">
                <a:extLst>
                  <a:ext uri="{FF2B5EF4-FFF2-40B4-BE49-F238E27FC236}">
                    <a16:creationId xmlns:a16="http://schemas.microsoft.com/office/drawing/2014/main" id="{0B707B86-17B4-FC89-CD1F-FEBAFD82C745}"/>
                  </a:ext>
                </a:extLst>
              </p:cNvPr>
              <p:cNvSpPr/>
              <p:nvPr/>
            </p:nvSpPr>
            <p:spPr>
              <a:xfrm>
                <a:off x="11771534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3" name="Google Shape;1558;p142">
                <a:extLst>
                  <a:ext uri="{FF2B5EF4-FFF2-40B4-BE49-F238E27FC236}">
                    <a16:creationId xmlns:a16="http://schemas.microsoft.com/office/drawing/2014/main" id="{3BDF6814-A152-0871-8034-05E96A4918C8}"/>
                  </a:ext>
                </a:extLst>
              </p:cNvPr>
              <p:cNvSpPr/>
              <p:nvPr/>
            </p:nvSpPr>
            <p:spPr>
              <a:xfrm>
                <a:off x="11772246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4" name="Google Shape;1559;p142">
                <a:extLst>
                  <a:ext uri="{FF2B5EF4-FFF2-40B4-BE49-F238E27FC236}">
                    <a16:creationId xmlns:a16="http://schemas.microsoft.com/office/drawing/2014/main" id="{B8803DB9-2C41-0354-52BB-8C20C78A8150}"/>
                  </a:ext>
                </a:extLst>
              </p:cNvPr>
              <p:cNvSpPr/>
              <p:nvPr/>
            </p:nvSpPr>
            <p:spPr>
              <a:xfrm>
                <a:off x="11772970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5" name="Google Shape;1560;p142">
                <a:extLst>
                  <a:ext uri="{FF2B5EF4-FFF2-40B4-BE49-F238E27FC236}">
                    <a16:creationId xmlns:a16="http://schemas.microsoft.com/office/drawing/2014/main" id="{A45A236B-1F94-159C-0ECC-52755E0CE80C}"/>
                  </a:ext>
                </a:extLst>
              </p:cNvPr>
              <p:cNvSpPr/>
              <p:nvPr/>
            </p:nvSpPr>
            <p:spPr>
              <a:xfrm>
                <a:off x="11772970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6" name="Google Shape;1561;p142">
                <a:extLst>
                  <a:ext uri="{FF2B5EF4-FFF2-40B4-BE49-F238E27FC236}">
                    <a16:creationId xmlns:a16="http://schemas.microsoft.com/office/drawing/2014/main" id="{227439AD-3096-8B36-E39E-C397288DF082}"/>
                  </a:ext>
                </a:extLst>
              </p:cNvPr>
              <p:cNvSpPr/>
              <p:nvPr/>
            </p:nvSpPr>
            <p:spPr>
              <a:xfrm>
                <a:off x="11773693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7" name="Google Shape;1562;p142">
                <a:extLst>
                  <a:ext uri="{FF2B5EF4-FFF2-40B4-BE49-F238E27FC236}">
                    <a16:creationId xmlns:a16="http://schemas.microsoft.com/office/drawing/2014/main" id="{51C78089-F1EA-B593-5D10-C00B21B51B28}"/>
                  </a:ext>
                </a:extLst>
              </p:cNvPr>
              <p:cNvSpPr/>
              <p:nvPr/>
            </p:nvSpPr>
            <p:spPr>
              <a:xfrm>
                <a:off x="11773693" y="2749703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8" name="Google Shape;1563;p142">
                <a:extLst>
                  <a:ext uri="{FF2B5EF4-FFF2-40B4-BE49-F238E27FC236}">
                    <a16:creationId xmlns:a16="http://schemas.microsoft.com/office/drawing/2014/main" id="{7F34B296-D806-13F3-E7E2-3E360FA2D3CB}"/>
                  </a:ext>
                </a:extLst>
              </p:cNvPr>
              <p:cNvSpPr/>
              <p:nvPr/>
            </p:nvSpPr>
            <p:spPr>
              <a:xfrm>
                <a:off x="11774417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9" name="Google Shape;1564;p142">
                <a:extLst>
                  <a:ext uri="{FF2B5EF4-FFF2-40B4-BE49-F238E27FC236}">
                    <a16:creationId xmlns:a16="http://schemas.microsoft.com/office/drawing/2014/main" id="{86AC80AA-1158-3AAC-174A-0751553E7496}"/>
                  </a:ext>
                </a:extLst>
              </p:cNvPr>
              <p:cNvSpPr/>
              <p:nvPr/>
            </p:nvSpPr>
            <p:spPr>
              <a:xfrm>
                <a:off x="11775129" y="2748979"/>
                <a:ext cx="12" cy="12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0" name="Google Shape;1565;p142">
                <a:extLst>
                  <a:ext uri="{FF2B5EF4-FFF2-40B4-BE49-F238E27FC236}">
                    <a16:creationId xmlns:a16="http://schemas.microsoft.com/office/drawing/2014/main" id="{88618DFA-79E0-CFDA-85C6-D3121338BE16}"/>
                  </a:ext>
                </a:extLst>
              </p:cNvPr>
              <p:cNvSpPr/>
              <p:nvPr/>
            </p:nvSpPr>
            <p:spPr>
              <a:xfrm>
                <a:off x="12038791" y="2743215"/>
                <a:ext cx="59857" cy="11547"/>
              </a:xfrm>
              <a:custGeom>
                <a:avLst/>
                <a:gdLst/>
                <a:ahLst/>
                <a:cxnLst/>
                <a:rect l="l" t="t" r="r" b="b"/>
                <a:pathLst>
                  <a:path w="5128" h="989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1236" y="433"/>
                    </a:lnTo>
                    <a:lnTo>
                      <a:pt x="2471" y="741"/>
                    </a:lnTo>
                    <a:lnTo>
                      <a:pt x="3830" y="927"/>
                    </a:lnTo>
                    <a:lnTo>
                      <a:pt x="5127" y="989"/>
                    </a:lnTo>
                    <a:lnTo>
                      <a:pt x="5127" y="989"/>
                    </a:lnTo>
                    <a:lnTo>
                      <a:pt x="3830" y="927"/>
                    </a:lnTo>
                    <a:lnTo>
                      <a:pt x="2471" y="741"/>
                    </a:lnTo>
                    <a:lnTo>
                      <a:pt x="1236" y="43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1" name="Google Shape;1566;p142">
                <a:extLst>
                  <a:ext uri="{FF2B5EF4-FFF2-40B4-BE49-F238E27FC236}">
                    <a16:creationId xmlns:a16="http://schemas.microsoft.com/office/drawing/2014/main" id="{B5974B67-714B-99C4-C6FC-5D9625300255}"/>
                  </a:ext>
                </a:extLst>
              </p:cNvPr>
              <p:cNvSpPr/>
              <p:nvPr/>
            </p:nvSpPr>
            <p:spPr>
              <a:xfrm>
                <a:off x="12017168" y="2669686"/>
                <a:ext cx="224964" cy="85111"/>
              </a:xfrm>
              <a:custGeom>
                <a:avLst/>
                <a:gdLst/>
                <a:ahLst/>
                <a:cxnLst/>
                <a:rect l="l" t="t" r="r" b="b"/>
                <a:pathLst>
                  <a:path w="19273" h="7290" extrusionOk="0">
                    <a:moveTo>
                      <a:pt x="19272" y="1"/>
                    </a:moveTo>
                    <a:lnTo>
                      <a:pt x="18284" y="742"/>
                    </a:lnTo>
                    <a:lnTo>
                      <a:pt x="17234" y="1421"/>
                    </a:lnTo>
                    <a:lnTo>
                      <a:pt x="16184" y="1916"/>
                    </a:lnTo>
                    <a:lnTo>
                      <a:pt x="15010" y="2348"/>
                    </a:lnTo>
                    <a:lnTo>
                      <a:pt x="13775" y="2657"/>
                    </a:lnTo>
                    <a:lnTo>
                      <a:pt x="12539" y="2904"/>
                    </a:lnTo>
                    <a:lnTo>
                      <a:pt x="11304" y="3027"/>
                    </a:lnTo>
                    <a:lnTo>
                      <a:pt x="10007" y="3089"/>
                    </a:lnTo>
                    <a:lnTo>
                      <a:pt x="8463" y="3027"/>
                    </a:lnTo>
                    <a:lnTo>
                      <a:pt x="6857" y="2842"/>
                    </a:lnTo>
                    <a:lnTo>
                      <a:pt x="5312" y="2533"/>
                    </a:lnTo>
                    <a:lnTo>
                      <a:pt x="3768" y="2163"/>
                    </a:lnTo>
                    <a:lnTo>
                      <a:pt x="3768" y="2224"/>
                    </a:lnTo>
                    <a:lnTo>
                      <a:pt x="3645" y="2533"/>
                    </a:lnTo>
                    <a:lnTo>
                      <a:pt x="3459" y="2904"/>
                    </a:lnTo>
                    <a:lnTo>
                      <a:pt x="3336" y="3274"/>
                    </a:lnTo>
                    <a:lnTo>
                      <a:pt x="3150" y="3583"/>
                    </a:lnTo>
                    <a:lnTo>
                      <a:pt x="2533" y="4201"/>
                    </a:lnTo>
                    <a:lnTo>
                      <a:pt x="1730" y="4695"/>
                    </a:lnTo>
                    <a:lnTo>
                      <a:pt x="927" y="5128"/>
                    </a:lnTo>
                    <a:lnTo>
                      <a:pt x="0" y="5436"/>
                    </a:lnTo>
                    <a:lnTo>
                      <a:pt x="927" y="5931"/>
                    </a:lnTo>
                    <a:lnTo>
                      <a:pt x="1853" y="6363"/>
                    </a:lnTo>
                    <a:lnTo>
                      <a:pt x="1853" y="6301"/>
                    </a:lnTo>
                    <a:lnTo>
                      <a:pt x="3089" y="6734"/>
                    </a:lnTo>
                    <a:lnTo>
                      <a:pt x="4324" y="7042"/>
                    </a:lnTo>
                    <a:lnTo>
                      <a:pt x="5683" y="7228"/>
                    </a:lnTo>
                    <a:lnTo>
                      <a:pt x="6980" y="7290"/>
                    </a:lnTo>
                    <a:lnTo>
                      <a:pt x="8216" y="7290"/>
                    </a:lnTo>
                    <a:lnTo>
                      <a:pt x="8277" y="7228"/>
                    </a:lnTo>
                    <a:lnTo>
                      <a:pt x="8833" y="7228"/>
                    </a:lnTo>
                    <a:lnTo>
                      <a:pt x="8833" y="7166"/>
                    </a:lnTo>
                    <a:lnTo>
                      <a:pt x="9266" y="7166"/>
                    </a:lnTo>
                    <a:lnTo>
                      <a:pt x="9266" y="7104"/>
                    </a:lnTo>
                    <a:lnTo>
                      <a:pt x="9636" y="7104"/>
                    </a:lnTo>
                    <a:lnTo>
                      <a:pt x="9636" y="7042"/>
                    </a:lnTo>
                    <a:lnTo>
                      <a:pt x="9945" y="7042"/>
                    </a:lnTo>
                    <a:lnTo>
                      <a:pt x="9945" y="6981"/>
                    </a:lnTo>
                    <a:lnTo>
                      <a:pt x="10254" y="6981"/>
                    </a:lnTo>
                    <a:lnTo>
                      <a:pt x="10254" y="6919"/>
                    </a:lnTo>
                    <a:lnTo>
                      <a:pt x="10501" y="6919"/>
                    </a:lnTo>
                    <a:lnTo>
                      <a:pt x="10501" y="6857"/>
                    </a:lnTo>
                    <a:lnTo>
                      <a:pt x="10686" y="6857"/>
                    </a:lnTo>
                    <a:lnTo>
                      <a:pt x="10748" y="6795"/>
                    </a:lnTo>
                    <a:lnTo>
                      <a:pt x="10810" y="6795"/>
                    </a:lnTo>
                    <a:lnTo>
                      <a:pt x="11489" y="6610"/>
                    </a:lnTo>
                    <a:lnTo>
                      <a:pt x="12169" y="6363"/>
                    </a:lnTo>
                    <a:lnTo>
                      <a:pt x="13466" y="5745"/>
                    </a:lnTo>
                    <a:lnTo>
                      <a:pt x="14701" y="5066"/>
                    </a:lnTo>
                    <a:lnTo>
                      <a:pt x="15813" y="4263"/>
                    </a:lnTo>
                    <a:lnTo>
                      <a:pt x="16863" y="3336"/>
                    </a:lnTo>
                    <a:lnTo>
                      <a:pt x="17790" y="2286"/>
                    </a:lnTo>
                    <a:lnTo>
                      <a:pt x="18593" y="1174"/>
                    </a:lnTo>
                    <a:lnTo>
                      <a:pt x="18964" y="618"/>
                    </a:lnTo>
                    <a:lnTo>
                      <a:pt x="19272" y="1"/>
                    </a:lnTo>
                    <a:close/>
                  </a:path>
                </a:pathLst>
              </a:custGeom>
              <a:solidFill>
                <a:srgbClr val="697A91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2" name="Google Shape;1567;p142">
                <a:extLst>
                  <a:ext uri="{FF2B5EF4-FFF2-40B4-BE49-F238E27FC236}">
                    <a16:creationId xmlns:a16="http://schemas.microsoft.com/office/drawing/2014/main" id="{912D43E1-C7E1-8F4C-04AE-E77412E3E0B6}"/>
                  </a:ext>
                </a:extLst>
              </p:cNvPr>
              <p:cNvSpPr/>
              <p:nvPr/>
            </p:nvSpPr>
            <p:spPr>
              <a:xfrm>
                <a:off x="12017168" y="2669686"/>
                <a:ext cx="224964" cy="85111"/>
              </a:xfrm>
              <a:custGeom>
                <a:avLst/>
                <a:gdLst/>
                <a:ahLst/>
                <a:cxnLst/>
                <a:rect l="l" t="t" r="r" b="b"/>
                <a:pathLst>
                  <a:path w="19273" h="7290" fill="none" extrusionOk="0">
                    <a:moveTo>
                      <a:pt x="19272" y="1"/>
                    </a:moveTo>
                    <a:lnTo>
                      <a:pt x="19272" y="1"/>
                    </a:lnTo>
                    <a:lnTo>
                      <a:pt x="18284" y="742"/>
                    </a:lnTo>
                    <a:lnTo>
                      <a:pt x="17234" y="1421"/>
                    </a:lnTo>
                    <a:lnTo>
                      <a:pt x="16184" y="1916"/>
                    </a:lnTo>
                    <a:lnTo>
                      <a:pt x="15010" y="2348"/>
                    </a:lnTo>
                    <a:lnTo>
                      <a:pt x="13775" y="2657"/>
                    </a:lnTo>
                    <a:lnTo>
                      <a:pt x="12539" y="2904"/>
                    </a:lnTo>
                    <a:lnTo>
                      <a:pt x="11304" y="3027"/>
                    </a:lnTo>
                    <a:lnTo>
                      <a:pt x="10007" y="3089"/>
                    </a:lnTo>
                    <a:lnTo>
                      <a:pt x="10007" y="3089"/>
                    </a:lnTo>
                    <a:lnTo>
                      <a:pt x="8463" y="3027"/>
                    </a:lnTo>
                    <a:lnTo>
                      <a:pt x="6857" y="2842"/>
                    </a:lnTo>
                    <a:lnTo>
                      <a:pt x="5312" y="2533"/>
                    </a:lnTo>
                    <a:lnTo>
                      <a:pt x="3768" y="2163"/>
                    </a:lnTo>
                    <a:lnTo>
                      <a:pt x="3768" y="2163"/>
                    </a:lnTo>
                    <a:lnTo>
                      <a:pt x="3768" y="2224"/>
                    </a:lnTo>
                    <a:lnTo>
                      <a:pt x="3768" y="2224"/>
                    </a:lnTo>
                    <a:lnTo>
                      <a:pt x="3645" y="2533"/>
                    </a:lnTo>
                    <a:lnTo>
                      <a:pt x="3459" y="2904"/>
                    </a:lnTo>
                    <a:lnTo>
                      <a:pt x="3336" y="3274"/>
                    </a:lnTo>
                    <a:lnTo>
                      <a:pt x="3150" y="3583"/>
                    </a:lnTo>
                    <a:lnTo>
                      <a:pt x="3150" y="3583"/>
                    </a:lnTo>
                    <a:lnTo>
                      <a:pt x="2533" y="4201"/>
                    </a:lnTo>
                    <a:lnTo>
                      <a:pt x="1730" y="4695"/>
                    </a:lnTo>
                    <a:lnTo>
                      <a:pt x="927" y="5128"/>
                    </a:lnTo>
                    <a:lnTo>
                      <a:pt x="0" y="5436"/>
                    </a:lnTo>
                    <a:lnTo>
                      <a:pt x="0" y="5436"/>
                    </a:lnTo>
                    <a:lnTo>
                      <a:pt x="927" y="5931"/>
                    </a:lnTo>
                    <a:lnTo>
                      <a:pt x="1853" y="6363"/>
                    </a:lnTo>
                    <a:lnTo>
                      <a:pt x="1853" y="6363"/>
                    </a:lnTo>
                    <a:lnTo>
                      <a:pt x="1853" y="6301"/>
                    </a:lnTo>
                    <a:lnTo>
                      <a:pt x="1853" y="6301"/>
                    </a:lnTo>
                    <a:lnTo>
                      <a:pt x="3089" y="6734"/>
                    </a:lnTo>
                    <a:lnTo>
                      <a:pt x="4324" y="7042"/>
                    </a:lnTo>
                    <a:lnTo>
                      <a:pt x="5683" y="7228"/>
                    </a:lnTo>
                    <a:lnTo>
                      <a:pt x="6980" y="7290"/>
                    </a:lnTo>
                    <a:lnTo>
                      <a:pt x="6980" y="7290"/>
                    </a:lnTo>
                    <a:lnTo>
                      <a:pt x="6980" y="7290"/>
                    </a:lnTo>
                    <a:lnTo>
                      <a:pt x="6980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042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04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165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27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289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351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13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474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36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598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660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21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783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845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07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7968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30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092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154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16" y="7290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277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339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01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463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24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586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648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10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771" y="7228"/>
                    </a:lnTo>
                    <a:lnTo>
                      <a:pt x="8833" y="7228"/>
                    </a:lnTo>
                    <a:lnTo>
                      <a:pt x="8833" y="7228"/>
                    </a:lnTo>
                    <a:lnTo>
                      <a:pt x="8833" y="7228"/>
                    </a:lnTo>
                    <a:lnTo>
                      <a:pt x="8833" y="7228"/>
                    </a:lnTo>
                    <a:lnTo>
                      <a:pt x="8833" y="7166"/>
                    </a:lnTo>
                    <a:lnTo>
                      <a:pt x="8833" y="7166"/>
                    </a:lnTo>
                    <a:lnTo>
                      <a:pt x="8833" y="7166"/>
                    </a:lnTo>
                    <a:lnTo>
                      <a:pt x="8833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895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8957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19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080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142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04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66"/>
                    </a:lnTo>
                    <a:lnTo>
                      <a:pt x="9266" y="7104"/>
                    </a:lnTo>
                    <a:lnTo>
                      <a:pt x="9266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27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389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451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13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574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104"/>
                    </a:lnTo>
                    <a:lnTo>
                      <a:pt x="9636" y="7042"/>
                    </a:lnTo>
                    <a:lnTo>
                      <a:pt x="9636" y="7042"/>
                    </a:lnTo>
                    <a:lnTo>
                      <a:pt x="9636" y="7042"/>
                    </a:lnTo>
                    <a:lnTo>
                      <a:pt x="9636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698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760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22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883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7042"/>
                    </a:lnTo>
                    <a:lnTo>
                      <a:pt x="9945" y="6981"/>
                    </a:lnTo>
                    <a:lnTo>
                      <a:pt x="9945" y="6981"/>
                    </a:lnTo>
                    <a:lnTo>
                      <a:pt x="9945" y="6981"/>
                    </a:lnTo>
                    <a:lnTo>
                      <a:pt x="9945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07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069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30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192" y="6981"/>
                    </a:lnTo>
                    <a:lnTo>
                      <a:pt x="10254" y="6981"/>
                    </a:lnTo>
                    <a:lnTo>
                      <a:pt x="10254" y="6981"/>
                    </a:lnTo>
                    <a:lnTo>
                      <a:pt x="10254" y="6981"/>
                    </a:lnTo>
                    <a:lnTo>
                      <a:pt x="10254" y="6981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254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16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378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439" y="6919"/>
                    </a:lnTo>
                    <a:lnTo>
                      <a:pt x="10501" y="6919"/>
                    </a:lnTo>
                    <a:lnTo>
                      <a:pt x="10501" y="6919"/>
                    </a:lnTo>
                    <a:lnTo>
                      <a:pt x="10501" y="6919"/>
                    </a:lnTo>
                    <a:lnTo>
                      <a:pt x="10501" y="6919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01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563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25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686" y="6857"/>
                    </a:lnTo>
                    <a:lnTo>
                      <a:pt x="10748" y="6795"/>
                    </a:lnTo>
                    <a:lnTo>
                      <a:pt x="10748" y="6795"/>
                    </a:lnTo>
                    <a:lnTo>
                      <a:pt x="10748" y="6795"/>
                    </a:lnTo>
                    <a:lnTo>
                      <a:pt x="10748" y="6795"/>
                    </a:lnTo>
                    <a:lnTo>
                      <a:pt x="10810" y="6795"/>
                    </a:lnTo>
                    <a:lnTo>
                      <a:pt x="10810" y="6795"/>
                    </a:lnTo>
                    <a:lnTo>
                      <a:pt x="10810" y="6795"/>
                    </a:lnTo>
                    <a:lnTo>
                      <a:pt x="10810" y="6795"/>
                    </a:lnTo>
                    <a:lnTo>
                      <a:pt x="11489" y="6610"/>
                    </a:lnTo>
                    <a:lnTo>
                      <a:pt x="12169" y="6363"/>
                    </a:lnTo>
                    <a:lnTo>
                      <a:pt x="13466" y="5745"/>
                    </a:lnTo>
                    <a:lnTo>
                      <a:pt x="14701" y="5066"/>
                    </a:lnTo>
                    <a:lnTo>
                      <a:pt x="15813" y="4263"/>
                    </a:lnTo>
                    <a:lnTo>
                      <a:pt x="16863" y="3336"/>
                    </a:lnTo>
                    <a:lnTo>
                      <a:pt x="17790" y="2286"/>
                    </a:lnTo>
                    <a:lnTo>
                      <a:pt x="18593" y="1174"/>
                    </a:lnTo>
                    <a:lnTo>
                      <a:pt x="18964" y="618"/>
                    </a:lnTo>
                    <a:lnTo>
                      <a:pt x="19272" y="1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lang="nb-NO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51" name="Google Shape;1568;p142">
              <a:extLst>
                <a:ext uri="{FF2B5EF4-FFF2-40B4-BE49-F238E27FC236}">
                  <a16:creationId xmlns:a16="http://schemas.microsoft.com/office/drawing/2014/main" id="{D4F4B495-7E01-E3F6-D47F-8E792DD89FBA}"/>
                </a:ext>
              </a:extLst>
            </p:cNvPr>
            <p:cNvSpPr/>
            <p:nvPr/>
          </p:nvSpPr>
          <p:spPr>
            <a:xfrm flipH="1">
              <a:off x="2665302" y="6739282"/>
              <a:ext cx="683091" cy="364120"/>
            </a:xfrm>
            <a:custGeom>
              <a:avLst/>
              <a:gdLst/>
              <a:ahLst/>
              <a:cxnLst/>
              <a:rect l="l" t="t" r="r" b="b"/>
              <a:pathLst>
                <a:path w="38484" h="20508" extrusionOk="0">
                  <a:moveTo>
                    <a:pt x="23658" y="0"/>
                  </a:moveTo>
                  <a:lnTo>
                    <a:pt x="23040" y="62"/>
                  </a:lnTo>
                  <a:lnTo>
                    <a:pt x="22423" y="124"/>
                  </a:lnTo>
                  <a:lnTo>
                    <a:pt x="21867" y="247"/>
                  </a:lnTo>
                  <a:lnTo>
                    <a:pt x="20755" y="618"/>
                  </a:lnTo>
                  <a:lnTo>
                    <a:pt x="19767" y="1112"/>
                  </a:lnTo>
                  <a:lnTo>
                    <a:pt x="18778" y="1730"/>
                  </a:lnTo>
                  <a:lnTo>
                    <a:pt x="17914" y="2409"/>
                  </a:lnTo>
                  <a:lnTo>
                    <a:pt x="17172" y="3212"/>
                  </a:lnTo>
                  <a:lnTo>
                    <a:pt x="16555" y="4077"/>
                  </a:lnTo>
                  <a:lnTo>
                    <a:pt x="16060" y="3830"/>
                  </a:lnTo>
                  <a:lnTo>
                    <a:pt x="15566" y="3521"/>
                  </a:lnTo>
                  <a:lnTo>
                    <a:pt x="15072" y="3336"/>
                  </a:lnTo>
                  <a:lnTo>
                    <a:pt x="14516" y="3089"/>
                  </a:lnTo>
                  <a:lnTo>
                    <a:pt x="13898" y="2965"/>
                  </a:lnTo>
                  <a:lnTo>
                    <a:pt x="13342" y="2842"/>
                  </a:lnTo>
                  <a:lnTo>
                    <a:pt x="12725" y="2780"/>
                  </a:lnTo>
                  <a:lnTo>
                    <a:pt x="11304" y="2780"/>
                  </a:lnTo>
                  <a:lnTo>
                    <a:pt x="10563" y="2904"/>
                  </a:lnTo>
                  <a:lnTo>
                    <a:pt x="9883" y="3089"/>
                  </a:lnTo>
                  <a:lnTo>
                    <a:pt x="9142" y="3274"/>
                  </a:lnTo>
                  <a:lnTo>
                    <a:pt x="8524" y="3583"/>
                  </a:lnTo>
                  <a:lnTo>
                    <a:pt x="7907" y="3954"/>
                  </a:lnTo>
                  <a:lnTo>
                    <a:pt x="7289" y="4324"/>
                  </a:lnTo>
                  <a:lnTo>
                    <a:pt x="6795" y="4818"/>
                  </a:lnTo>
                  <a:lnTo>
                    <a:pt x="6301" y="5313"/>
                  </a:lnTo>
                  <a:lnTo>
                    <a:pt x="5868" y="5807"/>
                  </a:lnTo>
                  <a:lnTo>
                    <a:pt x="5498" y="6424"/>
                  </a:lnTo>
                  <a:lnTo>
                    <a:pt x="5127" y="7042"/>
                  </a:lnTo>
                  <a:lnTo>
                    <a:pt x="4880" y="7660"/>
                  </a:lnTo>
                  <a:lnTo>
                    <a:pt x="4695" y="8339"/>
                  </a:lnTo>
                  <a:lnTo>
                    <a:pt x="4571" y="9019"/>
                  </a:lnTo>
                  <a:lnTo>
                    <a:pt x="4571" y="9698"/>
                  </a:lnTo>
                  <a:lnTo>
                    <a:pt x="4571" y="9884"/>
                  </a:lnTo>
                  <a:lnTo>
                    <a:pt x="4077" y="10007"/>
                  </a:lnTo>
                  <a:lnTo>
                    <a:pt x="3645" y="10131"/>
                  </a:lnTo>
                  <a:lnTo>
                    <a:pt x="3150" y="10316"/>
                  </a:lnTo>
                  <a:lnTo>
                    <a:pt x="2780" y="10563"/>
                  </a:lnTo>
                  <a:lnTo>
                    <a:pt x="2347" y="10810"/>
                  </a:lnTo>
                  <a:lnTo>
                    <a:pt x="1977" y="11057"/>
                  </a:lnTo>
                  <a:lnTo>
                    <a:pt x="1606" y="11428"/>
                  </a:lnTo>
                  <a:lnTo>
                    <a:pt x="1297" y="11737"/>
                  </a:lnTo>
                  <a:lnTo>
                    <a:pt x="988" y="12107"/>
                  </a:lnTo>
                  <a:lnTo>
                    <a:pt x="741" y="12478"/>
                  </a:lnTo>
                  <a:lnTo>
                    <a:pt x="556" y="12849"/>
                  </a:lnTo>
                  <a:lnTo>
                    <a:pt x="371" y="13281"/>
                  </a:lnTo>
                  <a:lnTo>
                    <a:pt x="185" y="13713"/>
                  </a:lnTo>
                  <a:lnTo>
                    <a:pt x="124" y="14207"/>
                  </a:lnTo>
                  <a:lnTo>
                    <a:pt x="0" y="14640"/>
                  </a:lnTo>
                  <a:lnTo>
                    <a:pt x="0" y="15134"/>
                  </a:lnTo>
                  <a:lnTo>
                    <a:pt x="62" y="15690"/>
                  </a:lnTo>
                  <a:lnTo>
                    <a:pt x="124" y="16184"/>
                  </a:lnTo>
                  <a:lnTo>
                    <a:pt x="247" y="16740"/>
                  </a:lnTo>
                  <a:lnTo>
                    <a:pt x="494" y="17234"/>
                  </a:lnTo>
                  <a:lnTo>
                    <a:pt x="741" y="17667"/>
                  </a:lnTo>
                  <a:lnTo>
                    <a:pt x="988" y="18099"/>
                  </a:lnTo>
                  <a:lnTo>
                    <a:pt x="1359" y="18531"/>
                  </a:lnTo>
                  <a:lnTo>
                    <a:pt x="1730" y="18902"/>
                  </a:lnTo>
                  <a:lnTo>
                    <a:pt x="2162" y="19273"/>
                  </a:lnTo>
                  <a:lnTo>
                    <a:pt x="2594" y="19581"/>
                  </a:lnTo>
                  <a:lnTo>
                    <a:pt x="3089" y="19829"/>
                  </a:lnTo>
                  <a:lnTo>
                    <a:pt x="3583" y="20076"/>
                  </a:lnTo>
                  <a:lnTo>
                    <a:pt x="4139" y="20261"/>
                  </a:lnTo>
                  <a:lnTo>
                    <a:pt x="4695" y="20384"/>
                  </a:lnTo>
                  <a:lnTo>
                    <a:pt x="5251" y="20508"/>
                  </a:lnTo>
                  <a:lnTo>
                    <a:pt x="33233" y="20508"/>
                  </a:lnTo>
                  <a:lnTo>
                    <a:pt x="33789" y="20384"/>
                  </a:lnTo>
                  <a:lnTo>
                    <a:pt x="34344" y="20261"/>
                  </a:lnTo>
                  <a:lnTo>
                    <a:pt x="34900" y="20076"/>
                  </a:lnTo>
                  <a:lnTo>
                    <a:pt x="35395" y="19829"/>
                  </a:lnTo>
                  <a:lnTo>
                    <a:pt x="35889" y="19581"/>
                  </a:lnTo>
                  <a:lnTo>
                    <a:pt x="36321" y="19273"/>
                  </a:lnTo>
                  <a:lnTo>
                    <a:pt x="36753" y="18902"/>
                  </a:lnTo>
                  <a:lnTo>
                    <a:pt x="37124" y="18531"/>
                  </a:lnTo>
                  <a:lnTo>
                    <a:pt x="37495" y="18099"/>
                  </a:lnTo>
                  <a:lnTo>
                    <a:pt x="37742" y="17667"/>
                  </a:lnTo>
                  <a:lnTo>
                    <a:pt x="37989" y="17234"/>
                  </a:lnTo>
                  <a:lnTo>
                    <a:pt x="38236" y="16740"/>
                  </a:lnTo>
                  <a:lnTo>
                    <a:pt x="38360" y="16184"/>
                  </a:lnTo>
                  <a:lnTo>
                    <a:pt x="38421" y="15690"/>
                  </a:lnTo>
                  <a:lnTo>
                    <a:pt x="38483" y="15134"/>
                  </a:lnTo>
                  <a:lnTo>
                    <a:pt x="38421" y="14578"/>
                  </a:lnTo>
                  <a:lnTo>
                    <a:pt x="38360" y="14084"/>
                  </a:lnTo>
                  <a:lnTo>
                    <a:pt x="38236" y="13528"/>
                  </a:lnTo>
                  <a:lnTo>
                    <a:pt x="38051" y="13096"/>
                  </a:lnTo>
                  <a:lnTo>
                    <a:pt x="37804" y="12601"/>
                  </a:lnTo>
                  <a:lnTo>
                    <a:pt x="37495" y="12169"/>
                  </a:lnTo>
                  <a:lnTo>
                    <a:pt x="37186" y="11737"/>
                  </a:lnTo>
                  <a:lnTo>
                    <a:pt x="36815" y="11366"/>
                  </a:lnTo>
                  <a:lnTo>
                    <a:pt x="36445" y="11057"/>
                  </a:lnTo>
                  <a:lnTo>
                    <a:pt x="36012" y="10748"/>
                  </a:lnTo>
                  <a:lnTo>
                    <a:pt x="35580" y="10439"/>
                  </a:lnTo>
                  <a:lnTo>
                    <a:pt x="35086" y="10192"/>
                  </a:lnTo>
                  <a:lnTo>
                    <a:pt x="34530" y="10007"/>
                  </a:lnTo>
                  <a:lnTo>
                    <a:pt x="34036" y="9884"/>
                  </a:lnTo>
                  <a:lnTo>
                    <a:pt x="33480" y="9760"/>
                  </a:lnTo>
                  <a:lnTo>
                    <a:pt x="32862" y="9760"/>
                  </a:lnTo>
                  <a:lnTo>
                    <a:pt x="32985" y="8957"/>
                  </a:lnTo>
                  <a:lnTo>
                    <a:pt x="33047" y="8092"/>
                  </a:lnTo>
                  <a:lnTo>
                    <a:pt x="32985" y="7289"/>
                  </a:lnTo>
                  <a:lnTo>
                    <a:pt x="32862" y="6486"/>
                  </a:lnTo>
                  <a:lnTo>
                    <a:pt x="32677" y="5683"/>
                  </a:lnTo>
                  <a:lnTo>
                    <a:pt x="32368" y="4942"/>
                  </a:lnTo>
                  <a:lnTo>
                    <a:pt x="31997" y="4262"/>
                  </a:lnTo>
                  <a:lnTo>
                    <a:pt x="31565" y="3583"/>
                  </a:lnTo>
                  <a:lnTo>
                    <a:pt x="31071" y="2965"/>
                  </a:lnTo>
                  <a:lnTo>
                    <a:pt x="30453" y="2348"/>
                  </a:lnTo>
                  <a:lnTo>
                    <a:pt x="29835" y="1853"/>
                  </a:lnTo>
                  <a:lnTo>
                    <a:pt x="29156" y="1359"/>
                  </a:lnTo>
                  <a:lnTo>
                    <a:pt x="28414" y="927"/>
                  </a:lnTo>
                  <a:lnTo>
                    <a:pt x="27673" y="618"/>
                  </a:lnTo>
                  <a:lnTo>
                    <a:pt x="26870" y="371"/>
                  </a:lnTo>
                  <a:lnTo>
                    <a:pt x="26005" y="124"/>
                  </a:lnTo>
                  <a:lnTo>
                    <a:pt x="25141" y="0"/>
                  </a:lnTo>
                  <a:close/>
                </a:path>
              </a:pathLst>
            </a:custGeom>
            <a:solidFill>
              <a:srgbClr val="85A0BE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2" name="Google Shape;1569;p142">
              <a:extLst>
                <a:ext uri="{FF2B5EF4-FFF2-40B4-BE49-F238E27FC236}">
                  <a16:creationId xmlns:a16="http://schemas.microsoft.com/office/drawing/2014/main" id="{FAFDD15C-BAEA-C9E8-51C7-AF69CAA235C1}"/>
                </a:ext>
              </a:extLst>
            </p:cNvPr>
            <p:cNvSpPr/>
            <p:nvPr/>
          </p:nvSpPr>
          <p:spPr>
            <a:xfrm>
              <a:off x="2322572" y="6739282"/>
              <a:ext cx="683091" cy="364120"/>
            </a:xfrm>
            <a:custGeom>
              <a:avLst/>
              <a:gdLst/>
              <a:ahLst/>
              <a:cxnLst/>
              <a:rect l="l" t="t" r="r" b="b"/>
              <a:pathLst>
                <a:path w="38484" h="20508" extrusionOk="0">
                  <a:moveTo>
                    <a:pt x="23658" y="0"/>
                  </a:moveTo>
                  <a:lnTo>
                    <a:pt x="23040" y="62"/>
                  </a:lnTo>
                  <a:lnTo>
                    <a:pt x="22423" y="124"/>
                  </a:lnTo>
                  <a:lnTo>
                    <a:pt x="21867" y="247"/>
                  </a:lnTo>
                  <a:lnTo>
                    <a:pt x="20755" y="618"/>
                  </a:lnTo>
                  <a:lnTo>
                    <a:pt x="19767" y="1112"/>
                  </a:lnTo>
                  <a:lnTo>
                    <a:pt x="18778" y="1730"/>
                  </a:lnTo>
                  <a:lnTo>
                    <a:pt x="17914" y="2409"/>
                  </a:lnTo>
                  <a:lnTo>
                    <a:pt x="17172" y="3212"/>
                  </a:lnTo>
                  <a:lnTo>
                    <a:pt x="16555" y="4077"/>
                  </a:lnTo>
                  <a:lnTo>
                    <a:pt x="16060" y="3830"/>
                  </a:lnTo>
                  <a:lnTo>
                    <a:pt x="15566" y="3521"/>
                  </a:lnTo>
                  <a:lnTo>
                    <a:pt x="15072" y="3336"/>
                  </a:lnTo>
                  <a:lnTo>
                    <a:pt x="14516" y="3089"/>
                  </a:lnTo>
                  <a:lnTo>
                    <a:pt x="13898" y="2965"/>
                  </a:lnTo>
                  <a:lnTo>
                    <a:pt x="13342" y="2842"/>
                  </a:lnTo>
                  <a:lnTo>
                    <a:pt x="12725" y="2780"/>
                  </a:lnTo>
                  <a:lnTo>
                    <a:pt x="11304" y="2780"/>
                  </a:lnTo>
                  <a:lnTo>
                    <a:pt x="10563" y="2904"/>
                  </a:lnTo>
                  <a:lnTo>
                    <a:pt x="9883" y="3089"/>
                  </a:lnTo>
                  <a:lnTo>
                    <a:pt x="9142" y="3274"/>
                  </a:lnTo>
                  <a:lnTo>
                    <a:pt x="8524" y="3583"/>
                  </a:lnTo>
                  <a:lnTo>
                    <a:pt x="7907" y="3954"/>
                  </a:lnTo>
                  <a:lnTo>
                    <a:pt x="7289" y="4324"/>
                  </a:lnTo>
                  <a:lnTo>
                    <a:pt x="6795" y="4818"/>
                  </a:lnTo>
                  <a:lnTo>
                    <a:pt x="6301" y="5313"/>
                  </a:lnTo>
                  <a:lnTo>
                    <a:pt x="5868" y="5807"/>
                  </a:lnTo>
                  <a:lnTo>
                    <a:pt x="5498" y="6424"/>
                  </a:lnTo>
                  <a:lnTo>
                    <a:pt x="5127" y="7042"/>
                  </a:lnTo>
                  <a:lnTo>
                    <a:pt x="4880" y="7660"/>
                  </a:lnTo>
                  <a:lnTo>
                    <a:pt x="4695" y="8339"/>
                  </a:lnTo>
                  <a:lnTo>
                    <a:pt x="4571" y="9019"/>
                  </a:lnTo>
                  <a:lnTo>
                    <a:pt x="4571" y="9698"/>
                  </a:lnTo>
                  <a:lnTo>
                    <a:pt x="4571" y="9884"/>
                  </a:lnTo>
                  <a:lnTo>
                    <a:pt x="4077" y="10007"/>
                  </a:lnTo>
                  <a:lnTo>
                    <a:pt x="3645" y="10131"/>
                  </a:lnTo>
                  <a:lnTo>
                    <a:pt x="3150" y="10316"/>
                  </a:lnTo>
                  <a:lnTo>
                    <a:pt x="2780" y="10563"/>
                  </a:lnTo>
                  <a:lnTo>
                    <a:pt x="2347" y="10810"/>
                  </a:lnTo>
                  <a:lnTo>
                    <a:pt x="1977" y="11057"/>
                  </a:lnTo>
                  <a:lnTo>
                    <a:pt x="1606" y="11428"/>
                  </a:lnTo>
                  <a:lnTo>
                    <a:pt x="1297" y="11737"/>
                  </a:lnTo>
                  <a:lnTo>
                    <a:pt x="988" y="12107"/>
                  </a:lnTo>
                  <a:lnTo>
                    <a:pt x="741" y="12478"/>
                  </a:lnTo>
                  <a:lnTo>
                    <a:pt x="556" y="12849"/>
                  </a:lnTo>
                  <a:lnTo>
                    <a:pt x="371" y="13281"/>
                  </a:lnTo>
                  <a:lnTo>
                    <a:pt x="185" y="13713"/>
                  </a:lnTo>
                  <a:lnTo>
                    <a:pt x="124" y="14207"/>
                  </a:lnTo>
                  <a:lnTo>
                    <a:pt x="0" y="14640"/>
                  </a:lnTo>
                  <a:lnTo>
                    <a:pt x="0" y="15134"/>
                  </a:lnTo>
                  <a:lnTo>
                    <a:pt x="62" y="15690"/>
                  </a:lnTo>
                  <a:lnTo>
                    <a:pt x="124" y="16184"/>
                  </a:lnTo>
                  <a:lnTo>
                    <a:pt x="247" y="16740"/>
                  </a:lnTo>
                  <a:lnTo>
                    <a:pt x="494" y="17234"/>
                  </a:lnTo>
                  <a:lnTo>
                    <a:pt x="741" y="17667"/>
                  </a:lnTo>
                  <a:lnTo>
                    <a:pt x="988" y="18099"/>
                  </a:lnTo>
                  <a:lnTo>
                    <a:pt x="1359" y="18531"/>
                  </a:lnTo>
                  <a:lnTo>
                    <a:pt x="1730" y="18902"/>
                  </a:lnTo>
                  <a:lnTo>
                    <a:pt x="2162" y="19273"/>
                  </a:lnTo>
                  <a:lnTo>
                    <a:pt x="2594" y="19581"/>
                  </a:lnTo>
                  <a:lnTo>
                    <a:pt x="3089" y="19829"/>
                  </a:lnTo>
                  <a:lnTo>
                    <a:pt x="3583" y="20076"/>
                  </a:lnTo>
                  <a:lnTo>
                    <a:pt x="4139" y="20261"/>
                  </a:lnTo>
                  <a:lnTo>
                    <a:pt x="4695" y="20384"/>
                  </a:lnTo>
                  <a:lnTo>
                    <a:pt x="5251" y="20508"/>
                  </a:lnTo>
                  <a:lnTo>
                    <a:pt x="33233" y="20508"/>
                  </a:lnTo>
                  <a:lnTo>
                    <a:pt x="33789" y="20384"/>
                  </a:lnTo>
                  <a:lnTo>
                    <a:pt x="34344" y="20261"/>
                  </a:lnTo>
                  <a:lnTo>
                    <a:pt x="34900" y="20076"/>
                  </a:lnTo>
                  <a:lnTo>
                    <a:pt x="35395" y="19829"/>
                  </a:lnTo>
                  <a:lnTo>
                    <a:pt x="35889" y="19581"/>
                  </a:lnTo>
                  <a:lnTo>
                    <a:pt x="36321" y="19273"/>
                  </a:lnTo>
                  <a:lnTo>
                    <a:pt x="36753" y="18902"/>
                  </a:lnTo>
                  <a:lnTo>
                    <a:pt x="37124" y="18531"/>
                  </a:lnTo>
                  <a:lnTo>
                    <a:pt x="37495" y="18099"/>
                  </a:lnTo>
                  <a:lnTo>
                    <a:pt x="37742" y="17667"/>
                  </a:lnTo>
                  <a:lnTo>
                    <a:pt x="37989" y="17234"/>
                  </a:lnTo>
                  <a:lnTo>
                    <a:pt x="38236" y="16740"/>
                  </a:lnTo>
                  <a:lnTo>
                    <a:pt x="38360" y="16184"/>
                  </a:lnTo>
                  <a:lnTo>
                    <a:pt x="38421" y="15690"/>
                  </a:lnTo>
                  <a:lnTo>
                    <a:pt x="38483" y="15134"/>
                  </a:lnTo>
                  <a:lnTo>
                    <a:pt x="38421" y="14578"/>
                  </a:lnTo>
                  <a:lnTo>
                    <a:pt x="38360" y="14084"/>
                  </a:lnTo>
                  <a:lnTo>
                    <a:pt x="38236" y="13528"/>
                  </a:lnTo>
                  <a:lnTo>
                    <a:pt x="38051" y="13096"/>
                  </a:lnTo>
                  <a:lnTo>
                    <a:pt x="37804" y="12601"/>
                  </a:lnTo>
                  <a:lnTo>
                    <a:pt x="37495" y="12169"/>
                  </a:lnTo>
                  <a:lnTo>
                    <a:pt x="37186" y="11737"/>
                  </a:lnTo>
                  <a:lnTo>
                    <a:pt x="36815" y="11366"/>
                  </a:lnTo>
                  <a:lnTo>
                    <a:pt x="36445" y="11057"/>
                  </a:lnTo>
                  <a:lnTo>
                    <a:pt x="36012" y="10748"/>
                  </a:lnTo>
                  <a:lnTo>
                    <a:pt x="35580" y="10439"/>
                  </a:lnTo>
                  <a:lnTo>
                    <a:pt x="35086" y="10192"/>
                  </a:lnTo>
                  <a:lnTo>
                    <a:pt x="34530" y="10007"/>
                  </a:lnTo>
                  <a:lnTo>
                    <a:pt x="34036" y="9884"/>
                  </a:lnTo>
                  <a:lnTo>
                    <a:pt x="33480" y="9760"/>
                  </a:lnTo>
                  <a:lnTo>
                    <a:pt x="32862" y="9760"/>
                  </a:lnTo>
                  <a:lnTo>
                    <a:pt x="32985" y="8957"/>
                  </a:lnTo>
                  <a:lnTo>
                    <a:pt x="33047" y="8092"/>
                  </a:lnTo>
                  <a:lnTo>
                    <a:pt x="32985" y="7289"/>
                  </a:lnTo>
                  <a:lnTo>
                    <a:pt x="32862" y="6486"/>
                  </a:lnTo>
                  <a:lnTo>
                    <a:pt x="32677" y="5683"/>
                  </a:lnTo>
                  <a:lnTo>
                    <a:pt x="32368" y="4942"/>
                  </a:lnTo>
                  <a:lnTo>
                    <a:pt x="31997" y="4262"/>
                  </a:lnTo>
                  <a:lnTo>
                    <a:pt x="31565" y="3583"/>
                  </a:lnTo>
                  <a:lnTo>
                    <a:pt x="31071" y="2965"/>
                  </a:lnTo>
                  <a:lnTo>
                    <a:pt x="30453" y="2348"/>
                  </a:lnTo>
                  <a:lnTo>
                    <a:pt x="29835" y="1853"/>
                  </a:lnTo>
                  <a:lnTo>
                    <a:pt x="29156" y="1359"/>
                  </a:lnTo>
                  <a:lnTo>
                    <a:pt x="28414" y="927"/>
                  </a:lnTo>
                  <a:lnTo>
                    <a:pt x="27673" y="618"/>
                  </a:lnTo>
                  <a:lnTo>
                    <a:pt x="26870" y="371"/>
                  </a:lnTo>
                  <a:lnTo>
                    <a:pt x="26005" y="124"/>
                  </a:lnTo>
                  <a:lnTo>
                    <a:pt x="25141" y="0"/>
                  </a:lnTo>
                  <a:close/>
                </a:path>
              </a:pathLst>
            </a:custGeom>
            <a:solidFill>
              <a:srgbClr val="FEBF7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3" name="Google Shape;1570;p142">
              <a:extLst>
                <a:ext uri="{FF2B5EF4-FFF2-40B4-BE49-F238E27FC236}">
                  <a16:creationId xmlns:a16="http://schemas.microsoft.com/office/drawing/2014/main" id="{7660933F-7219-015D-80F3-6A609BF33F02}"/>
                </a:ext>
              </a:extLst>
            </p:cNvPr>
            <p:cNvSpPr/>
            <p:nvPr/>
          </p:nvSpPr>
          <p:spPr>
            <a:xfrm flipH="1">
              <a:off x="1980669" y="6739282"/>
              <a:ext cx="683091" cy="364120"/>
            </a:xfrm>
            <a:custGeom>
              <a:avLst/>
              <a:gdLst/>
              <a:ahLst/>
              <a:cxnLst/>
              <a:rect l="l" t="t" r="r" b="b"/>
              <a:pathLst>
                <a:path w="38484" h="20508" extrusionOk="0">
                  <a:moveTo>
                    <a:pt x="23658" y="0"/>
                  </a:moveTo>
                  <a:lnTo>
                    <a:pt x="23040" y="62"/>
                  </a:lnTo>
                  <a:lnTo>
                    <a:pt x="22423" y="124"/>
                  </a:lnTo>
                  <a:lnTo>
                    <a:pt x="21867" y="247"/>
                  </a:lnTo>
                  <a:lnTo>
                    <a:pt x="20755" y="618"/>
                  </a:lnTo>
                  <a:lnTo>
                    <a:pt x="19767" y="1112"/>
                  </a:lnTo>
                  <a:lnTo>
                    <a:pt x="18778" y="1730"/>
                  </a:lnTo>
                  <a:lnTo>
                    <a:pt x="17914" y="2409"/>
                  </a:lnTo>
                  <a:lnTo>
                    <a:pt x="17172" y="3212"/>
                  </a:lnTo>
                  <a:lnTo>
                    <a:pt x="16555" y="4077"/>
                  </a:lnTo>
                  <a:lnTo>
                    <a:pt x="16060" y="3830"/>
                  </a:lnTo>
                  <a:lnTo>
                    <a:pt x="15566" y="3521"/>
                  </a:lnTo>
                  <a:lnTo>
                    <a:pt x="15072" y="3336"/>
                  </a:lnTo>
                  <a:lnTo>
                    <a:pt x="14516" y="3089"/>
                  </a:lnTo>
                  <a:lnTo>
                    <a:pt x="13898" y="2965"/>
                  </a:lnTo>
                  <a:lnTo>
                    <a:pt x="13342" y="2842"/>
                  </a:lnTo>
                  <a:lnTo>
                    <a:pt x="12725" y="2780"/>
                  </a:lnTo>
                  <a:lnTo>
                    <a:pt x="11304" y="2780"/>
                  </a:lnTo>
                  <a:lnTo>
                    <a:pt x="10563" y="2904"/>
                  </a:lnTo>
                  <a:lnTo>
                    <a:pt x="9883" y="3089"/>
                  </a:lnTo>
                  <a:lnTo>
                    <a:pt x="9142" y="3274"/>
                  </a:lnTo>
                  <a:lnTo>
                    <a:pt x="8524" y="3583"/>
                  </a:lnTo>
                  <a:lnTo>
                    <a:pt x="7907" y="3954"/>
                  </a:lnTo>
                  <a:lnTo>
                    <a:pt x="7289" y="4324"/>
                  </a:lnTo>
                  <a:lnTo>
                    <a:pt x="6795" y="4818"/>
                  </a:lnTo>
                  <a:lnTo>
                    <a:pt x="6301" y="5313"/>
                  </a:lnTo>
                  <a:lnTo>
                    <a:pt x="5868" y="5807"/>
                  </a:lnTo>
                  <a:lnTo>
                    <a:pt x="5498" y="6424"/>
                  </a:lnTo>
                  <a:lnTo>
                    <a:pt x="5127" y="7042"/>
                  </a:lnTo>
                  <a:lnTo>
                    <a:pt x="4880" y="7660"/>
                  </a:lnTo>
                  <a:lnTo>
                    <a:pt x="4695" y="8339"/>
                  </a:lnTo>
                  <a:lnTo>
                    <a:pt x="4571" y="9019"/>
                  </a:lnTo>
                  <a:lnTo>
                    <a:pt x="4571" y="9698"/>
                  </a:lnTo>
                  <a:lnTo>
                    <a:pt x="4571" y="9884"/>
                  </a:lnTo>
                  <a:lnTo>
                    <a:pt x="4077" y="10007"/>
                  </a:lnTo>
                  <a:lnTo>
                    <a:pt x="3645" y="10131"/>
                  </a:lnTo>
                  <a:lnTo>
                    <a:pt x="3150" y="10316"/>
                  </a:lnTo>
                  <a:lnTo>
                    <a:pt x="2780" y="10563"/>
                  </a:lnTo>
                  <a:lnTo>
                    <a:pt x="2347" y="10810"/>
                  </a:lnTo>
                  <a:lnTo>
                    <a:pt x="1977" y="11057"/>
                  </a:lnTo>
                  <a:lnTo>
                    <a:pt x="1606" y="11428"/>
                  </a:lnTo>
                  <a:lnTo>
                    <a:pt x="1297" y="11737"/>
                  </a:lnTo>
                  <a:lnTo>
                    <a:pt x="988" y="12107"/>
                  </a:lnTo>
                  <a:lnTo>
                    <a:pt x="741" y="12478"/>
                  </a:lnTo>
                  <a:lnTo>
                    <a:pt x="556" y="12849"/>
                  </a:lnTo>
                  <a:lnTo>
                    <a:pt x="371" y="13281"/>
                  </a:lnTo>
                  <a:lnTo>
                    <a:pt x="185" y="13713"/>
                  </a:lnTo>
                  <a:lnTo>
                    <a:pt x="124" y="14207"/>
                  </a:lnTo>
                  <a:lnTo>
                    <a:pt x="0" y="14640"/>
                  </a:lnTo>
                  <a:lnTo>
                    <a:pt x="0" y="15134"/>
                  </a:lnTo>
                  <a:lnTo>
                    <a:pt x="62" y="15690"/>
                  </a:lnTo>
                  <a:lnTo>
                    <a:pt x="124" y="16184"/>
                  </a:lnTo>
                  <a:lnTo>
                    <a:pt x="247" y="16740"/>
                  </a:lnTo>
                  <a:lnTo>
                    <a:pt x="494" y="17234"/>
                  </a:lnTo>
                  <a:lnTo>
                    <a:pt x="741" y="17667"/>
                  </a:lnTo>
                  <a:lnTo>
                    <a:pt x="988" y="18099"/>
                  </a:lnTo>
                  <a:lnTo>
                    <a:pt x="1359" y="18531"/>
                  </a:lnTo>
                  <a:lnTo>
                    <a:pt x="1730" y="18902"/>
                  </a:lnTo>
                  <a:lnTo>
                    <a:pt x="2162" y="19273"/>
                  </a:lnTo>
                  <a:lnTo>
                    <a:pt x="2594" y="19581"/>
                  </a:lnTo>
                  <a:lnTo>
                    <a:pt x="3089" y="19829"/>
                  </a:lnTo>
                  <a:lnTo>
                    <a:pt x="3583" y="20076"/>
                  </a:lnTo>
                  <a:lnTo>
                    <a:pt x="4139" y="20261"/>
                  </a:lnTo>
                  <a:lnTo>
                    <a:pt x="4695" y="20384"/>
                  </a:lnTo>
                  <a:lnTo>
                    <a:pt x="5251" y="20508"/>
                  </a:lnTo>
                  <a:lnTo>
                    <a:pt x="33233" y="20508"/>
                  </a:lnTo>
                  <a:lnTo>
                    <a:pt x="33789" y="20384"/>
                  </a:lnTo>
                  <a:lnTo>
                    <a:pt x="34344" y="20261"/>
                  </a:lnTo>
                  <a:lnTo>
                    <a:pt x="34900" y="20076"/>
                  </a:lnTo>
                  <a:lnTo>
                    <a:pt x="35395" y="19829"/>
                  </a:lnTo>
                  <a:lnTo>
                    <a:pt x="35889" y="19581"/>
                  </a:lnTo>
                  <a:lnTo>
                    <a:pt x="36321" y="19273"/>
                  </a:lnTo>
                  <a:lnTo>
                    <a:pt x="36753" y="18902"/>
                  </a:lnTo>
                  <a:lnTo>
                    <a:pt x="37124" y="18531"/>
                  </a:lnTo>
                  <a:lnTo>
                    <a:pt x="37495" y="18099"/>
                  </a:lnTo>
                  <a:lnTo>
                    <a:pt x="37742" y="17667"/>
                  </a:lnTo>
                  <a:lnTo>
                    <a:pt x="37989" y="17234"/>
                  </a:lnTo>
                  <a:lnTo>
                    <a:pt x="38236" y="16740"/>
                  </a:lnTo>
                  <a:lnTo>
                    <a:pt x="38360" y="16184"/>
                  </a:lnTo>
                  <a:lnTo>
                    <a:pt x="38421" y="15690"/>
                  </a:lnTo>
                  <a:lnTo>
                    <a:pt x="38483" y="15134"/>
                  </a:lnTo>
                  <a:lnTo>
                    <a:pt x="38421" y="14578"/>
                  </a:lnTo>
                  <a:lnTo>
                    <a:pt x="38360" y="14084"/>
                  </a:lnTo>
                  <a:lnTo>
                    <a:pt x="38236" y="13528"/>
                  </a:lnTo>
                  <a:lnTo>
                    <a:pt x="38051" y="13096"/>
                  </a:lnTo>
                  <a:lnTo>
                    <a:pt x="37804" y="12601"/>
                  </a:lnTo>
                  <a:lnTo>
                    <a:pt x="37495" y="12169"/>
                  </a:lnTo>
                  <a:lnTo>
                    <a:pt x="37186" y="11737"/>
                  </a:lnTo>
                  <a:lnTo>
                    <a:pt x="36815" y="11366"/>
                  </a:lnTo>
                  <a:lnTo>
                    <a:pt x="36445" y="11057"/>
                  </a:lnTo>
                  <a:lnTo>
                    <a:pt x="36012" y="10748"/>
                  </a:lnTo>
                  <a:lnTo>
                    <a:pt x="35580" y="10439"/>
                  </a:lnTo>
                  <a:lnTo>
                    <a:pt x="35086" y="10192"/>
                  </a:lnTo>
                  <a:lnTo>
                    <a:pt x="34530" y="10007"/>
                  </a:lnTo>
                  <a:lnTo>
                    <a:pt x="34036" y="9884"/>
                  </a:lnTo>
                  <a:lnTo>
                    <a:pt x="33480" y="9760"/>
                  </a:lnTo>
                  <a:lnTo>
                    <a:pt x="32862" y="9760"/>
                  </a:lnTo>
                  <a:lnTo>
                    <a:pt x="32985" y="8957"/>
                  </a:lnTo>
                  <a:lnTo>
                    <a:pt x="33047" y="8092"/>
                  </a:lnTo>
                  <a:lnTo>
                    <a:pt x="32985" y="7289"/>
                  </a:lnTo>
                  <a:lnTo>
                    <a:pt x="32862" y="6486"/>
                  </a:lnTo>
                  <a:lnTo>
                    <a:pt x="32677" y="5683"/>
                  </a:lnTo>
                  <a:lnTo>
                    <a:pt x="32368" y="4942"/>
                  </a:lnTo>
                  <a:lnTo>
                    <a:pt x="31997" y="4262"/>
                  </a:lnTo>
                  <a:lnTo>
                    <a:pt x="31565" y="3583"/>
                  </a:lnTo>
                  <a:lnTo>
                    <a:pt x="31071" y="2965"/>
                  </a:lnTo>
                  <a:lnTo>
                    <a:pt x="30453" y="2348"/>
                  </a:lnTo>
                  <a:lnTo>
                    <a:pt x="29835" y="1853"/>
                  </a:lnTo>
                  <a:lnTo>
                    <a:pt x="29156" y="1359"/>
                  </a:lnTo>
                  <a:lnTo>
                    <a:pt x="28414" y="927"/>
                  </a:lnTo>
                  <a:lnTo>
                    <a:pt x="27673" y="618"/>
                  </a:lnTo>
                  <a:lnTo>
                    <a:pt x="26870" y="371"/>
                  </a:lnTo>
                  <a:lnTo>
                    <a:pt x="26005" y="124"/>
                  </a:lnTo>
                  <a:lnTo>
                    <a:pt x="25141" y="0"/>
                  </a:lnTo>
                  <a:close/>
                </a:path>
              </a:pathLst>
            </a:custGeom>
            <a:solidFill>
              <a:srgbClr val="6DD2C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4" name="Google Shape;1571;p142">
              <a:extLst>
                <a:ext uri="{FF2B5EF4-FFF2-40B4-BE49-F238E27FC236}">
                  <a16:creationId xmlns:a16="http://schemas.microsoft.com/office/drawing/2014/main" id="{A0C8238E-D8AB-937D-1666-016FAF959ACB}"/>
                </a:ext>
              </a:extLst>
            </p:cNvPr>
            <p:cNvSpPr/>
            <p:nvPr/>
          </p:nvSpPr>
          <p:spPr>
            <a:xfrm>
              <a:off x="1550117" y="6739282"/>
              <a:ext cx="683091" cy="364120"/>
            </a:xfrm>
            <a:custGeom>
              <a:avLst/>
              <a:gdLst/>
              <a:ahLst/>
              <a:cxnLst/>
              <a:rect l="l" t="t" r="r" b="b"/>
              <a:pathLst>
                <a:path w="38484" h="20508" extrusionOk="0">
                  <a:moveTo>
                    <a:pt x="23658" y="0"/>
                  </a:moveTo>
                  <a:lnTo>
                    <a:pt x="23040" y="62"/>
                  </a:lnTo>
                  <a:lnTo>
                    <a:pt x="22423" y="124"/>
                  </a:lnTo>
                  <a:lnTo>
                    <a:pt x="21867" y="247"/>
                  </a:lnTo>
                  <a:lnTo>
                    <a:pt x="20755" y="618"/>
                  </a:lnTo>
                  <a:lnTo>
                    <a:pt x="19767" y="1112"/>
                  </a:lnTo>
                  <a:lnTo>
                    <a:pt x="18778" y="1730"/>
                  </a:lnTo>
                  <a:lnTo>
                    <a:pt x="17914" y="2409"/>
                  </a:lnTo>
                  <a:lnTo>
                    <a:pt x="17172" y="3212"/>
                  </a:lnTo>
                  <a:lnTo>
                    <a:pt x="16555" y="4077"/>
                  </a:lnTo>
                  <a:lnTo>
                    <a:pt x="16060" y="3830"/>
                  </a:lnTo>
                  <a:lnTo>
                    <a:pt x="15566" y="3521"/>
                  </a:lnTo>
                  <a:lnTo>
                    <a:pt x="15072" y="3336"/>
                  </a:lnTo>
                  <a:lnTo>
                    <a:pt x="14516" y="3089"/>
                  </a:lnTo>
                  <a:lnTo>
                    <a:pt x="13898" y="2965"/>
                  </a:lnTo>
                  <a:lnTo>
                    <a:pt x="13342" y="2842"/>
                  </a:lnTo>
                  <a:lnTo>
                    <a:pt x="12725" y="2780"/>
                  </a:lnTo>
                  <a:lnTo>
                    <a:pt x="11304" y="2780"/>
                  </a:lnTo>
                  <a:lnTo>
                    <a:pt x="10563" y="2904"/>
                  </a:lnTo>
                  <a:lnTo>
                    <a:pt x="9883" y="3089"/>
                  </a:lnTo>
                  <a:lnTo>
                    <a:pt x="9142" y="3274"/>
                  </a:lnTo>
                  <a:lnTo>
                    <a:pt x="8524" y="3583"/>
                  </a:lnTo>
                  <a:lnTo>
                    <a:pt x="7907" y="3954"/>
                  </a:lnTo>
                  <a:lnTo>
                    <a:pt x="7289" y="4324"/>
                  </a:lnTo>
                  <a:lnTo>
                    <a:pt x="6795" y="4818"/>
                  </a:lnTo>
                  <a:lnTo>
                    <a:pt x="6301" y="5313"/>
                  </a:lnTo>
                  <a:lnTo>
                    <a:pt x="5868" y="5807"/>
                  </a:lnTo>
                  <a:lnTo>
                    <a:pt x="5498" y="6424"/>
                  </a:lnTo>
                  <a:lnTo>
                    <a:pt x="5127" y="7042"/>
                  </a:lnTo>
                  <a:lnTo>
                    <a:pt x="4880" y="7660"/>
                  </a:lnTo>
                  <a:lnTo>
                    <a:pt x="4695" y="8339"/>
                  </a:lnTo>
                  <a:lnTo>
                    <a:pt x="4571" y="9019"/>
                  </a:lnTo>
                  <a:lnTo>
                    <a:pt x="4571" y="9698"/>
                  </a:lnTo>
                  <a:lnTo>
                    <a:pt x="4571" y="9884"/>
                  </a:lnTo>
                  <a:lnTo>
                    <a:pt x="4077" y="10007"/>
                  </a:lnTo>
                  <a:lnTo>
                    <a:pt x="3645" y="10131"/>
                  </a:lnTo>
                  <a:lnTo>
                    <a:pt x="3150" y="10316"/>
                  </a:lnTo>
                  <a:lnTo>
                    <a:pt x="2780" y="10563"/>
                  </a:lnTo>
                  <a:lnTo>
                    <a:pt x="2347" y="10810"/>
                  </a:lnTo>
                  <a:lnTo>
                    <a:pt x="1977" y="11057"/>
                  </a:lnTo>
                  <a:lnTo>
                    <a:pt x="1606" y="11428"/>
                  </a:lnTo>
                  <a:lnTo>
                    <a:pt x="1297" y="11737"/>
                  </a:lnTo>
                  <a:lnTo>
                    <a:pt x="988" y="12107"/>
                  </a:lnTo>
                  <a:lnTo>
                    <a:pt x="741" y="12478"/>
                  </a:lnTo>
                  <a:lnTo>
                    <a:pt x="556" y="12849"/>
                  </a:lnTo>
                  <a:lnTo>
                    <a:pt x="371" y="13281"/>
                  </a:lnTo>
                  <a:lnTo>
                    <a:pt x="185" y="13713"/>
                  </a:lnTo>
                  <a:lnTo>
                    <a:pt x="124" y="14207"/>
                  </a:lnTo>
                  <a:lnTo>
                    <a:pt x="0" y="14640"/>
                  </a:lnTo>
                  <a:lnTo>
                    <a:pt x="0" y="15134"/>
                  </a:lnTo>
                  <a:lnTo>
                    <a:pt x="62" y="15690"/>
                  </a:lnTo>
                  <a:lnTo>
                    <a:pt x="124" y="16184"/>
                  </a:lnTo>
                  <a:lnTo>
                    <a:pt x="247" y="16740"/>
                  </a:lnTo>
                  <a:lnTo>
                    <a:pt x="494" y="17234"/>
                  </a:lnTo>
                  <a:lnTo>
                    <a:pt x="741" y="17667"/>
                  </a:lnTo>
                  <a:lnTo>
                    <a:pt x="988" y="18099"/>
                  </a:lnTo>
                  <a:lnTo>
                    <a:pt x="1359" y="18531"/>
                  </a:lnTo>
                  <a:lnTo>
                    <a:pt x="1730" y="18902"/>
                  </a:lnTo>
                  <a:lnTo>
                    <a:pt x="2162" y="19273"/>
                  </a:lnTo>
                  <a:lnTo>
                    <a:pt x="2594" y="19581"/>
                  </a:lnTo>
                  <a:lnTo>
                    <a:pt x="3089" y="19829"/>
                  </a:lnTo>
                  <a:lnTo>
                    <a:pt x="3583" y="20076"/>
                  </a:lnTo>
                  <a:lnTo>
                    <a:pt x="4139" y="20261"/>
                  </a:lnTo>
                  <a:lnTo>
                    <a:pt x="4695" y="20384"/>
                  </a:lnTo>
                  <a:lnTo>
                    <a:pt x="5251" y="20508"/>
                  </a:lnTo>
                  <a:lnTo>
                    <a:pt x="33233" y="20508"/>
                  </a:lnTo>
                  <a:lnTo>
                    <a:pt x="33789" y="20384"/>
                  </a:lnTo>
                  <a:lnTo>
                    <a:pt x="34344" y="20261"/>
                  </a:lnTo>
                  <a:lnTo>
                    <a:pt x="34900" y="20076"/>
                  </a:lnTo>
                  <a:lnTo>
                    <a:pt x="35395" y="19829"/>
                  </a:lnTo>
                  <a:lnTo>
                    <a:pt x="35889" y="19581"/>
                  </a:lnTo>
                  <a:lnTo>
                    <a:pt x="36321" y="19273"/>
                  </a:lnTo>
                  <a:lnTo>
                    <a:pt x="36753" y="18902"/>
                  </a:lnTo>
                  <a:lnTo>
                    <a:pt x="37124" y="18531"/>
                  </a:lnTo>
                  <a:lnTo>
                    <a:pt x="37495" y="18099"/>
                  </a:lnTo>
                  <a:lnTo>
                    <a:pt x="37742" y="17667"/>
                  </a:lnTo>
                  <a:lnTo>
                    <a:pt x="37989" y="17234"/>
                  </a:lnTo>
                  <a:lnTo>
                    <a:pt x="38236" y="16740"/>
                  </a:lnTo>
                  <a:lnTo>
                    <a:pt x="38360" y="16184"/>
                  </a:lnTo>
                  <a:lnTo>
                    <a:pt x="38421" y="15690"/>
                  </a:lnTo>
                  <a:lnTo>
                    <a:pt x="38483" y="15134"/>
                  </a:lnTo>
                  <a:lnTo>
                    <a:pt x="38421" y="14578"/>
                  </a:lnTo>
                  <a:lnTo>
                    <a:pt x="38360" y="14084"/>
                  </a:lnTo>
                  <a:lnTo>
                    <a:pt x="38236" y="13528"/>
                  </a:lnTo>
                  <a:lnTo>
                    <a:pt x="38051" y="13096"/>
                  </a:lnTo>
                  <a:lnTo>
                    <a:pt x="37804" y="12601"/>
                  </a:lnTo>
                  <a:lnTo>
                    <a:pt x="37495" y="12169"/>
                  </a:lnTo>
                  <a:lnTo>
                    <a:pt x="37186" y="11737"/>
                  </a:lnTo>
                  <a:lnTo>
                    <a:pt x="36815" y="11366"/>
                  </a:lnTo>
                  <a:lnTo>
                    <a:pt x="36445" y="11057"/>
                  </a:lnTo>
                  <a:lnTo>
                    <a:pt x="36012" y="10748"/>
                  </a:lnTo>
                  <a:lnTo>
                    <a:pt x="35580" y="10439"/>
                  </a:lnTo>
                  <a:lnTo>
                    <a:pt x="35086" y="10192"/>
                  </a:lnTo>
                  <a:lnTo>
                    <a:pt x="34530" y="10007"/>
                  </a:lnTo>
                  <a:lnTo>
                    <a:pt x="34036" y="9884"/>
                  </a:lnTo>
                  <a:lnTo>
                    <a:pt x="33480" y="9760"/>
                  </a:lnTo>
                  <a:lnTo>
                    <a:pt x="32862" y="9760"/>
                  </a:lnTo>
                  <a:lnTo>
                    <a:pt x="32985" y="8957"/>
                  </a:lnTo>
                  <a:lnTo>
                    <a:pt x="33047" y="8092"/>
                  </a:lnTo>
                  <a:lnTo>
                    <a:pt x="32985" y="7289"/>
                  </a:lnTo>
                  <a:lnTo>
                    <a:pt x="32862" y="6486"/>
                  </a:lnTo>
                  <a:lnTo>
                    <a:pt x="32677" y="5683"/>
                  </a:lnTo>
                  <a:lnTo>
                    <a:pt x="32368" y="4942"/>
                  </a:lnTo>
                  <a:lnTo>
                    <a:pt x="31997" y="4262"/>
                  </a:lnTo>
                  <a:lnTo>
                    <a:pt x="31565" y="3583"/>
                  </a:lnTo>
                  <a:lnTo>
                    <a:pt x="31071" y="2965"/>
                  </a:lnTo>
                  <a:lnTo>
                    <a:pt x="30453" y="2348"/>
                  </a:lnTo>
                  <a:lnTo>
                    <a:pt x="29835" y="1853"/>
                  </a:lnTo>
                  <a:lnTo>
                    <a:pt x="29156" y="1359"/>
                  </a:lnTo>
                  <a:lnTo>
                    <a:pt x="28414" y="927"/>
                  </a:lnTo>
                  <a:lnTo>
                    <a:pt x="27673" y="618"/>
                  </a:lnTo>
                  <a:lnTo>
                    <a:pt x="26870" y="371"/>
                  </a:lnTo>
                  <a:lnTo>
                    <a:pt x="26005" y="124"/>
                  </a:lnTo>
                  <a:lnTo>
                    <a:pt x="25141" y="0"/>
                  </a:lnTo>
                  <a:close/>
                </a:path>
              </a:pathLst>
            </a:custGeom>
            <a:solidFill>
              <a:srgbClr val="FEBF7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5" name="Google Shape;1572;p142">
              <a:extLst>
                <a:ext uri="{FF2B5EF4-FFF2-40B4-BE49-F238E27FC236}">
                  <a16:creationId xmlns:a16="http://schemas.microsoft.com/office/drawing/2014/main" id="{1C0C28D6-F095-8B19-3396-7669170BB747}"/>
                </a:ext>
              </a:extLst>
            </p:cNvPr>
            <p:cNvSpPr/>
            <p:nvPr/>
          </p:nvSpPr>
          <p:spPr>
            <a:xfrm>
              <a:off x="1151079" y="6739282"/>
              <a:ext cx="681990" cy="364120"/>
            </a:xfrm>
            <a:custGeom>
              <a:avLst/>
              <a:gdLst/>
              <a:ahLst/>
              <a:cxnLst/>
              <a:rect l="l" t="t" r="r" b="b"/>
              <a:pathLst>
                <a:path w="38422" h="20508" extrusionOk="0">
                  <a:moveTo>
                    <a:pt x="13281" y="0"/>
                  </a:moveTo>
                  <a:lnTo>
                    <a:pt x="12416" y="124"/>
                  </a:lnTo>
                  <a:lnTo>
                    <a:pt x="11552" y="371"/>
                  </a:lnTo>
                  <a:lnTo>
                    <a:pt x="10749" y="618"/>
                  </a:lnTo>
                  <a:lnTo>
                    <a:pt x="10007" y="927"/>
                  </a:lnTo>
                  <a:lnTo>
                    <a:pt x="9266" y="1359"/>
                  </a:lnTo>
                  <a:lnTo>
                    <a:pt x="8587" y="1853"/>
                  </a:lnTo>
                  <a:lnTo>
                    <a:pt x="7969" y="2348"/>
                  </a:lnTo>
                  <a:lnTo>
                    <a:pt x="7413" y="2965"/>
                  </a:lnTo>
                  <a:lnTo>
                    <a:pt x="6919" y="3583"/>
                  </a:lnTo>
                  <a:lnTo>
                    <a:pt x="6425" y="4262"/>
                  </a:lnTo>
                  <a:lnTo>
                    <a:pt x="6054" y="4942"/>
                  </a:lnTo>
                  <a:lnTo>
                    <a:pt x="5807" y="5683"/>
                  </a:lnTo>
                  <a:lnTo>
                    <a:pt x="5560" y="6486"/>
                  </a:lnTo>
                  <a:lnTo>
                    <a:pt x="5436" y="7289"/>
                  </a:lnTo>
                  <a:lnTo>
                    <a:pt x="5375" y="8092"/>
                  </a:lnTo>
                  <a:lnTo>
                    <a:pt x="5436" y="8957"/>
                  </a:lnTo>
                  <a:lnTo>
                    <a:pt x="5560" y="9760"/>
                  </a:lnTo>
                  <a:lnTo>
                    <a:pt x="5004" y="9760"/>
                  </a:lnTo>
                  <a:lnTo>
                    <a:pt x="4448" y="9884"/>
                  </a:lnTo>
                  <a:lnTo>
                    <a:pt x="3892" y="10007"/>
                  </a:lnTo>
                  <a:lnTo>
                    <a:pt x="3398" y="10192"/>
                  </a:lnTo>
                  <a:lnTo>
                    <a:pt x="2904" y="10439"/>
                  </a:lnTo>
                  <a:lnTo>
                    <a:pt x="2410" y="10748"/>
                  </a:lnTo>
                  <a:lnTo>
                    <a:pt x="1977" y="11057"/>
                  </a:lnTo>
                  <a:lnTo>
                    <a:pt x="1607" y="11366"/>
                  </a:lnTo>
                  <a:lnTo>
                    <a:pt x="1236" y="11737"/>
                  </a:lnTo>
                  <a:lnTo>
                    <a:pt x="927" y="12169"/>
                  </a:lnTo>
                  <a:lnTo>
                    <a:pt x="618" y="12601"/>
                  </a:lnTo>
                  <a:lnTo>
                    <a:pt x="433" y="13096"/>
                  </a:lnTo>
                  <a:lnTo>
                    <a:pt x="248" y="13528"/>
                  </a:lnTo>
                  <a:lnTo>
                    <a:pt x="62" y="14084"/>
                  </a:lnTo>
                  <a:lnTo>
                    <a:pt x="1" y="14578"/>
                  </a:lnTo>
                  <a:lnTo>
                    <a:pt x="1" y="15134"/>
                  </a:lnTo>
                  <a:lnTo>
                    <a:pt x="1" y="15690"/>
                  </a:lnTo>
                  <a:lnTo>
                    <a:pt x="124" y="16184"/>
                  </a:lnTo>
                  <a:lnTo>
                    <a:pt x="248" y="16740"/>
                  </a:lnTo>
                  <a:lnTo>
                    <a:pt x="433" y="17234"/>
                  </a:lnTo>
                  <a:lnTo>
                    <a:pt x="680" y="17667"/>
                  </a:lnTo>
                  <a:lnTo>
                    <a:pt x="989" y="18099"/>
                  </a:lnTo>
                  <a:lnTo>
                    <a:pt x="1298" y="18531"/>
                  </a:lnTo>
                  <a:lnTo>
                    <a:pt x="1668" y="18902"/>
                  </a:lnTo>
                  <a:lnTo>
                    <a:pt x="2101" y="19273"/>
                  </a:lnTo>
                  <a:lnTo>
                    <a:pt x="2533" y="19581"/>
                  </a:lnTo>
                  <a:lnTo>
                    <a:pt x="3027" y="19829"/>
                  </a:lnTo>
                  <a:lnTo>
                    <a:pt x="3521" y="20076"/>
                  </a:lnTo>
                  <a:lnTo>
                    <a:pt x="4077" y="20261"/>
                  </a:lnTo>
                  <a:lnTo>
                    <a:pt x="4633" y="20384"/>
                  </a:lnTo>
                  <a:lnTo>
                    <a:pt x="5189" y="20508"/>
                  </a:lnTo>
                  <a:lnTo>
                    <a:pt x="33171" y="20508"/>
                  </a:lnTo>
                  <a:lnTo>
                    <a:pt x="33789" y="20384"/>
                  </a:lnTo>
                  <a:lnTo>
                    <a:pt x="34345" y="20261"/>
                  </a:lnTo>
                  <a:lnTo>
                    <a:pt x="34839" y="20076"/>
                  </a:lnTo>
                  <a:lnTo>
                    <a:pt x="35395" y="19829"/>
                  </a:lnTo>
                  <a:lnTo>
                    <a:pt x="35889" y="19581"/>
                  </a:lnTo>
                  <a:lnTo>
                    <a:pt x="36322" y="19273"/>
                  </a:lnTo>
                  <a:lnTo>
                    <a:pt x="36754" y="18902"/>
                  </a:lnTo>
                  <a:lnTo>
                    <a:pt x="37125" y="18531"/>
                  </a:lnTo>
                  <a:lnTo>
                    <a:pt x="37433" y="18099"/>
                  </a:lnTo>
                  <a:lnTo>
                    <a:pt x="37742" y="17667"/>
                  </a:lnTo>
                  <a:lnTo>
                    <a:pt x="37989" y="17234"/>
                  </a:lnTo>
                  <a:lnTo>
                    <a:pt x="38175" y="16740"/>
                  </a:lnTo>
                  <a:lnTo>
                    <a:pt x="38298" y="16184"/>
                  </a:lnTo>
                  <a:lnTo>
                    <a:pt x="38422" y="15690"/>
                  </a:lnTo>
                  <a:lnTo>
                    <a:pt x="38422" y="15134"/>
                  </a:lnTo>
                  <a:lnTo>
                    <a:pt x="38422" y="14640"/>
                  </a:lnTo>
                  <a:lnTo>
                    <a:pt x="38360" y="14207"/>
                  </a:lnTo>
                  <a:lnTo>
                    <a:pt x="38236" y="13713"/>
                  </a:lnTo>
                  <a:lnTo>
                    <a:pt x="38113" y="13281"/>
                  </a:lnTo>
                  <a:lnTo>
                    <a:pt x="37928" y="12849"/>
                  </a:lnTo>
                  <a:lnTo>
                    <a:pt x="37680" y="12478"/>
                  </a:lnTo>
                  <a:lnTo>
                    <a:pt x="37433" y="12107"/>
                  </a:lnTo>
                  <a:lnTo>
                    <a:pt x="37125" y="11737"/>
                  </a:lnTo>
                  <a:lnTo>
                    <a:pt x="36816" y="11428"/>
                  </a:lnTo>
                  <a:lnTo>
                    <a:pt x="36445" y="11057"/>
                  </a:lnTo>
                  <a:lnTo>
                    <a:pt x="36074" y="10810"/>
                  </a:lnTo>
                  <a:lnTo>
                    <a:pt x="35704" y="10563"/>
                  </a:lnTo>
                  <a:lnTo>
                    <a:pt x="35271" y="10316"/>
                  </a:lnTo>
                  <a:lnTo>
                    <a:pt x="34839" y="10131"/>
                  </a:lnTo>
                  <a:lnTo>
                    <a:pt x="34345" y="10007"/>
                  </a:lnTo>
                  <a:lnTo>
                    <a:pt x="33912" y="9884"/>
                  </a:lnTo>
                  <a:lnTo>
                    <a:pt x="33912" y="9698"/>
                  </a:lnTo>
                  <a:lnTo>
                    <a:pt x="33851" y="9019"/>
                  </a:lnTo>
                  <a:lnTo>
                    <a:pt x="33727" y="8339"/>
                  </a:lnTo>
                  <a:lnTo>
                    <a:pt x="33542" y="7660"/>
                  </a:lnTo>
                  <a:lnTo>
                    <a:pt x="33295" y="7042"/>
                  </a:lnTo>
                  <a:lnTo>
                    <a:pt x="32986" y="6424"/>
                  </a:lnTo>
                  <a:lnTo>
                    <a:pt x="32615" y="5807"/>
                  </a:lnTo>
                  <a:lnTo>
                    <a:pt x="32183" y="5313"/>
                  </a:lnTo>
                  <a:lnTo>
                    <a:pt x="31689" y="4818"/>
                  </a:lnTo>
                  <a:lnTo>
                    <a:pt x="31133" y="4324"/>
                  </a:lnTo>
                  <a:lnTo>
                    <a:pt x="30577" y="3954"/>
                  </a:lnTo>
                  <a:lnTo>
                    <a:pt x="29959" y="3583"/>
                  </a:lnTo>
                  <a:lnTo>
                    <a:pt x="29280" y="3274"/>
                  </a:lnTo>
                  <a:lnTo>
                    <a:pt x="28600" y="3089"/>
                  </a:lnTo>
                  <a:lnTo>
                    <a:pt x="27859" y="2904"/>
                  </a:lnTo>
                  <a:lnTo>
                    <a:pt x="27118" y="2780"/>
                  </a:lnTo>
                  <a:lnTo>
                    <a:pt x="25697" y="2780"/>
                  </a:lnTo>
                  <a:lnTo>
                    <a:pt x="25141" y="2842"/>
                  </a:lnTo>
                  <a:lnTo>
                    <a:pt x="24523" y="2965"/>
                  </a:lnTo>
                  <a:lnTo>
                    <a:pt x="23967" y="3089"/>
                  </a:lnTo>
                  <a:lnTo>
                    <a:pt x="23412" y="3336"/>
                  </a:lnTo>
                  <a:lnTo>
                    <a:pt x="22856" y="3521"/>
                  </a:lnTo>
                  <a:lnTo>
                    <a:pt x="22361" y="3830"/>
                  </a:lnTo>
                  <a:lnTo>
                    <a:pt x="21867" y="4077"/>
                  </a:lnTo>
                  <a:lnTo>
                    <a:pt x="21250" y="3212"/>
                  </a:lnTo>
                  <a:lnTo>
                    <a:pt x="20508" y="2409"/>
                  </a:lnTo>
                  <a:lnTo>
                    <a:pt x="19644" y="1730"/>
                  </a:lnTo>
                  <a:lnTo>
                    <a:pt x="18717" y="1112"/>
                  </a:lnTo>
                  <a:lnTo>
                    <a:pt x="17667" y="618"/>
                  </a:lnTo>
                  <a:lnTo>
                    <a:pt x="16555" y="247"/>
                  </a:lnTo>
                  <a:lnTo>
                    <a:pt x="15999" y="124"/>
                  </a:lnTo>
                  <a:lnTo>
                    <a:pt x="15443" y="62"/>
                  </a:lnTo>
                  <a:lnTo>
                    <a:pt x="14825" y="0"/>
                  </a:lnTo>
                  <a:close/>
                </a:path>
              </a:pathLst>
            </a:custGeom>
            <a:solidFill>
              <a:srgbClr val="6DD2C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6" name="Google Shape;1573;p142">
              <a:extLst>
                <a:ext uri="{FF2B5EF4-FFF2-40B4-BE49-F238E27FC236}">
                  <a16:creationId xmlns:a16="http://schemas.microsoft.com/office/drawing/2014/main" id="{325D28E6-1E29-8261-ECC9-7298561DF277}"/>
                </a:ext>
              </a:extLst>
            </p:cNvPr>
            <p:cNvSpPr/>
            <p:nvPr/>
          </p:nvSpPr>
          <p:spPr>
            <a:xfrm>
              <a:off x="3177221" y="6739282"/>
              <a:ext cx="683091" cy="364120"/>
            </a:xfrm>
            <a:custGeom>
              <a:avLst/>
              <a:gdLst/>
              <a:ahLst/>
              <a:cxnLst/>
              <a:rect l="l" t="t" r="r" b="b"/>
              <a:pathLst>
                <a:path w="38484" h="20508" extrusionOk="0">
                  <a:moveTo>
                    <a:pt x="23658" y="0"/>
                  </a:moveTo>
                  <a:lnTo>
                    <a:pt x="23040" y="62"/>
                  </a:lnTo>
                  <a:lnTo>
                    <a:pt x="22423" y="124"/>
                  </a:lnTo>
                  <a:lnTo>
                    <a:pt x="21867" y="247"/>
                  </a:lnTo>
                  <a:lnTo>
                    <a:pt x="20755" y="618"/>
                  </a:lnTo>
                  <a:lnTo>
                    <a:pt x="19767" y="1112"/>
                  </a:lnTo>
                  <a:lnTo>
                    <a:pt x="18778" y="1730"/>
                  </a:lnTo>
                  <a:lnTo>
                    <a:pt x="17914" y="2409"/>
                  </a:lnTo>
                  <a:lnTo>
                    <a:pt x="17172" y="3212"/>
                  </a:lnTo>
                  <a:lnTo>
                    <a:pt x="16555" y="4077"/>
                  </a:lnTo>
                  <a:lnTo>
                    <a:pt x="16060" y="3830"/>
                  </a:lnTo>
                  <a:lnTo>
                    <a:pt x="15566" y="3521"/>
                  </a:lnTo>
                  <a:lnTo>
                    <a:pt x="15072" y="3336"/>
                  </a:lnTo>
                  <a:lnTo>
                    <a:pt x="14516" y="3089"/>
                  </a:lnTo>
                  <a:lnTo>
                    <a:pt x="13898" y="2965"/>
                  </a:lnTo>
                  <a:lnTo>
                    <a:pt x="13342" y="2842"/>
                  </a:lnTo>
                  <a:lnTo>
                    <a:pt x="12725" y="2780"/>
                  </a:lnTo>
                  <a:lnTo>
                    <a:pt x="11304" y="2780"/>
                  </a:lnTo>
                  <a:lnTo>
                    <a:pt x="10563" y="2904"/>
                  </a:lnTo>
                  <a:lnTo>
                    <a:pt x="9883" y="3089"/>
                  </a:lnTo>
                  <a:lnTo>
                    <a:pt x="9142" y="3274"/>
                  </a:lnTo>
                  <a:lnTo>
                    <a:pt x="8524" y="3583"/>
                  </a:lnTo>
                  <a:lnTo>
                    <a:pt x="7907" y="3954"/>
                  </a:lnTo>
                  <a:lnTo>
                    <a:pt x="7289" y="4324"/>
                  </a:lnTo>
                  <a:lnTo>
                    <a:pt x="6795" y="4818"/>
                  </a:lnTo>
                  <a:lnTo>
                    <a:pt x="6301" y="5313"/>
                  </a:lnTo>
                  <a:lnTo>
                    <a:pt x="5868" y="5807"/>
                  </a:lnTo>
                  <a:lnTo>
                    <a:pt x="5498" y="6424"/>
                  </a:lnTo>
                  <a:lnTo>
                    <a:pt x="5127" y="7042"/>
                  </a:lnTo>
                  <a:lnTo>
                    <a:pt x="4880" y="7660"/>
                  </a:lnTo>
                  <a:lnTo>
                    <a:pt x="4695" y="8339"/>
                  </a:lnTo>
                  <a:lnTo>
                    <a:pt x="4571" y="9019"/>
                  </a:lnTo>
                  <a:lnTo>
                    <a:pt x="4571" y="9698"/>
                  </a:lnTo>
                  <a:lnTo>
                    <a:pt x="4571" y="9884"/>
                  </a:lnTo>
                  <a:lnTo>
                    <a:pt x="4077" y="10007"/>
                  </a:lnTo>
                  <a:lnTo>
                    <a:pt x="3645" y="10131"/>
                  </a:lnTo>
                  <a:lnTo>
                    <a:pt x="3150" y="10316"/>
                  </a:lnTo>
                  <a:lnTo>
                    <a:pt x="2780" y="10563"/>
                  </a:lnTo>
                  <a:lnTo>
                    <a:pt x="2347" y="10810"/>
                  </a:lnTo>
                  <a:lnTo>
                    <a:pt x="1977" y="11057"/>
                  </a:lnTo>
                  <a:lnTo>
                    <a:pt x="1606" y="11428"/>
                  </a:lnTo>
                  <a:lnTo>
                    <a:pt x="1297" y="11737"/>
                  </a:lnTo>
                  <a:lnTo>
                    <a:pt x="988" y="12107"/>
                  </a:lnTo>
                  <a:lnTo>
                    <a:pt x="741" y="12478"/>
                  </a:lnTo>
                  <a:lnTo>
                    <a:pt x="556" y="12849"/>
                  </a:lnTo>
                  <a:lnTo>
                    <a:pt x="371" y="13281"/>
                  </a:lnTo>
                  <a:lnTo>
                    <a:pt x="185" y="13713"/>
                  </a:lnTo>
                  <a:lnTo>
                    <a:pt x="124" y="14207"/>
                  </a:lnTo>
                  <a:lnTo>
                    <a:pt x="0" y="14640"/>
                  </a:lnTo>
                  <a:lnTo>
                    <a:pt x="0" y="15134"/>
                  </a:lnTo>
                  <a:lnTo>
                    <a:pt x="62" y="15690"/>
                  </a:lnTo>
                  <a:lnTo>
                    <a:pt x="124" y="16184"/>
                  </a:lnTo>
                  <a:lnTo>
                    <a:pt x="247" y="16740"/>
                  </a:lnTo>
                  <a:lnTo>
                    <a:pt x="494" y="17234"/>
                  </a:lnTo>
                  <a:lnTo>
                    <a:pt x="741" y="17667"/>
                  </a:lnTo>
                  <a:lnTo>
                    <a:pt x="988" y="18099"/>
                  </a:lnTo>
                  <a:lnTo>
                    <a:pt x="1359" y="18531"/>
                  </a:lnTo>
                  <a:lnTo>
                    <a:pt x="1730" y="18902"/>
                  </a:lnTo>
                  <a:lnTo>
                    <a:pt x="2162" y="19273"/>
                  </a:lnTo>
                  <a:lnTo>
                    <a:pt x="2594" y="19581"/>
                  </a:lnTo>
                  <a:lnTo>
                    <a:pt x="3089" y="19829"/>
                  </a:lnTo>
                  <a:lnTo>
                    <a:pt x="3583" y="20076"/>
                  </a:lnTo>
                  <a:lnTo>
                    <a:pt x="4139" y="20261"/>
                  </a:lnTo>
                  <a:lnTo>
                    <a:pt x="4695" y="20384"/>
                  </a:lnTo>
                  <a:lnTo>
                    <a:pt x="5251" y="20508"/>
                  </a:lnTo>
                  <a:lnTo>
                    <a:pt x="33233" y="20508"/>
                  </a:lnTo>
                  <a:lnTo>
                    <a:pt x="33789" y="20384"/>
                  </a:lnTo>
                  <a:lnTo>
                    <a:pt x="34344" y="20261"/>
                  </a:lnTo>
                  <a:lnTo>
                    <a:pt x="34900" y="20076"/>
                  </a:lnTo>
                  <a:lnTo>
                    <a:pt x="35395" y="19829"/>
                  </a:lnTo>
                  <a:lnTo>
                    <a:pt x="35889" y="19581"/>
                  </a:lnTo>
                  <a:lnTo>
                    <a:pt x="36321" y="19273"/>
                  </a:lnTo>
                  <a:lnTo>
                    <a:pt x="36753" y="18902"/>
                  </a:lnTo>
                  <a:lnTo>
                    <a:pt x="37124" y="18531"/>
                  </a:lnTo>
                  <a:lnTo>
                    <a:pt x="37495" y="18099"/>
                  </a:lnTo>
                  <a:lnTo>
                    <a:pt x="37742" y="17667"/>
                  </a:lnTo>
                  <a:lnTo>
                    <a:pt x="37989" y="17234"/>
                  </a:lnTo>
                  <a:lnTo>
                    <a:pt x="38236" y="16740"/>
                  </a:lnTo>
                  <a:lnTo>
                    <a:pt x="38360" y="16184"/>
                  </a:lnTo>
                  <a:lnTo>
                    <a:pt x="38421" y="15690"/>
                  </a:lnTo>
                  <a:lnTo>
                    <a:pt x="38483" y="15134"/>
                  </a:lnTo>
                  <a:lnTo>
                    <a:pt x="38421" y="14578"/>
                  </a:lnTo>
                  <a:lnTo>
                    <a:pt x="38360" y="14084"/>
                  </a:lnTo>
                  <a:lnTo>
                    <a:pt x="38236" y="13528"/>
                  </a:lnTo>
                  <a:lnTo>
                    <a:pt x="38051" y="13096"/>
                  </a:lnTo>
                  <a:lnTo>
                    <a:pt x="37804" y="12601"/>
                  </a:lnTo>
                  <a:lnTo>
                    <a:pt x="37495" y="12169"/>
                  </a:lnTo>
                  <a:lnTo>
                    <a:pt x="37186" y="11737"/>
                  </a:lnTo>
                  <a:lnTo>
                    <a:pt x="36815" y="11366"/>
                  </a:lnTo>
                  <a:lnTo>
                    <a:pt x="36445" y="11057"/>
                  </a:lnTo>
                  <a:lnTo>
                    <a:pt x="36012" y="10748"/>
                  </a:lnTo>
                  <a:lnTo>
                    <a:pt x="35580" y="10439"/>
                  </a:lnTo>
                  <a:lnTo>
                    <a:pt x="35086" y="10192"/>
                  </a:lnTo>
                  <a:lnTo>
                    <a:pt x="34530" y="10007"/>
                  </a:lnTo>
                  <a:lnTo>
                    <a:pt x="34036" y="9884"/>
                  </a:lnTo>
                  <a:lnTo>
                    <a:pt x="33480" y="9760"/>
                  </a:lnTo>
                  <a:lnTo>
                    <a:pt x="32862" y="9760"/>
                  </a:lnTo>
                  <a:lnTo>
                    <a:pt x="32985" y="8957"/>
                  </a:lnTo>
                  <a:lnTo>
                    <a:pt x="33047" y="8092"/>
                  </a:lnTo>
                  <a:lnTo>
                    <a:pt x="32985" y="7289"/>
                  </a:lnTo>
                  <a:lnTo>
                    <a:pt x="32862" y="6486"/>
                  </a:lnTo>
                  <a:lnTo>
                    <a:pt x="32677" y="5683"/>
                  </a:lnTo>
                  <a:lnTo>
                    <a:pt x="32368" y="4942"/>
                  </a:lnTo>
                  <a:lnTo>
                    <a:pt x="31997" y="4262"/>
                  </a:lnTo>
                  <a:lnTo>
                    <a:pt x="31565" y="3583"/>
                  </a:lnTo>
                  <a:lnTo>
                    <a:pt x="31071" y="2965"/>
                  </a:lnTo>
                  <a:lnTo>
                    <a:pt x="30453" y="2348"/>
                  </a:lnTo>
                  <a:lnTo>
                    <a:pt x="29835" y="1853"/>
                  </a:lnTo>
                  <a:lnTo>
                    <a:pt x="29156" y="1359"/>
                  </a:lnTo>
                  <a:lnTo>
                    <a:pt x="28414" y="927"/>
                  </a:lnTo>
                  <a:lnTo>
                    <a:pt x="27673" y="618"/>
                  </a:lnTo>
                  <a:lnTo>
                    <a:pt x="26870" y="371"/>
                  </a:lnTo>
                  <a:lnTo>
                    <a:pt x="26005" y="124"/>
                  </a:lnTo>
                  <a:lnTo>
                    <a:pt x="25141" y="0"/>
                  </a:lnTo>
                  <a:close/>
                </a:path>
              </a:pathLst>
            </a:custGeom>
            <a:solidFill>
              <a:srgbClr val="FEBF7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7" name="Google Shape;1574;p142">
              <a:extLst>
                <a:ext uri="{FF2B5EF4-FFF2-40B4-BE49-F238E27FC236}">
                  <a16:creationId xmlns:a16="http://schemas.microsoft.com/office/drawing/2014/main" id="{306470FF-1AC3-8B63-1747-16D4F64A0208}"/>
                </a:ext>
              </a:extLst>
            </p:cNvPr>
            <p:cNvSpPr/>
            <p:nvPr/>
          </p:nvSpPr>
          <p:spPr>
            <a:xfrm flipH="1">
              <a:off x="3515168" y="6043015"/>
              <a:ext cx="1989046" cy="1060469"/>
            </a:xfrm>
            <a:custGeom>
              <a:avLst/>
              <a:gdLst/>
              <a:ahLst/>
              <a:cxnLst/>
              <a:rect l="l" t="t" r="r" b="b"/>
              <a:pathLst>
                <a:path w="38484" h="20508" extrusionOk="0">
                  <a:moveTo>
                    <a:pt x="23658" y="0"/>
                  </a:moveTo>
                  <a:lnTo>
                    <a:pt x="23040" y="62"/>
                  </a:lnTo>
                  <a:lnTo>
                    <a:pt x="22423" y="124"/>
                  </a:lnTo>
                  <a:lnTo>
                    <a:pt x="21867" y="247"/>
                  </a:lnTo>
                  <a:lnTo>
                    <a:pt x="20755" y="618"/>
                  </a:lnTo>
                  <a:lnTo>
                    <a:pt x="19767" y="1112"/>
                  </a:lnTo>
                  <a:lnTo>
                    <a:pt x="18778" y="1730"/>
                  </a:lnTo>
                  <a:lnTo>
                    <a:pt x="17914" y="2409"/>
                  </a:lnTo>
                  <a:lnTo>
                    <a:pt x="17172" y="3212"/>
                  </a:lnTo>
                  <a:lnTo>
                    <a:pt x="16555" y="4077"/>
                  </a:lnTo>
                  <a:lnTo>
                    <a:pt x="16060" y="3830"/>
                  </a:lnTo>
                  <a:lnTo>
                    <a:pt x="15566" y="3521"/>
                  </a:lnTo>
                  <a:lnTo>
                    <a:pt x="15072" y="3336"/>
                  </a:lnTo>
                  <a:lnTo>
                    <a:pt x="14516" y="3089"/>
                  </a:lnTo>
                  <a:lnTo>
                    <a:pt x="13898" y="2965"/>
                  </a:lnTo>
                  <a:lnTo>
                    <a:pt x="13342" y="2842"/>
                  </a:lnTo>
                  <a:lnTo>
                    <a:pt x="12725" y="2780"/>
                  </a:lnTo>
                  <a:lnTo>
                    <a:pt x="11304" y="2780"/>
                  </a:lnTo>
                  <a:lnTo>
                    <a:pt x="10563" y="2904"/>
                  </a:lnTo>
                  <a:lnTo>
                    <a:pt x="9883" y="3089"/>
                  </a:lnTo>
                  <a:lnTo>
                    <a:pt x="9142" y="3274"/>
                  </a:lnTo>
                  <a:lnTo>
                    <a:pt x="8524" y="3583"/>
                  </a:lnTo>
                  <a:lnTo>
                    <a:pt x="7907" y="3954"/>
                  </a:lnTo>
                  <a:lnTo>
                    <a:pt x="7289" y="4324"/>
                  </a:lnTo>
                  <a:lnTo>
                    <a:pt x="6795" y="4818"/>
                  </a:lnTo>
                  <a:lnTo>
                    <a:pt x="6301" y="5313"/>
                  </a:lnTo>
                  <a:lnTo>
                    <a:pt x="5868" y="5807"/>
                  </a:lnTo>
                  <a:lnTo>
                    <a:pt x="5498" y="6424"/>
                  </a:lnTo>
                  <a:lnTo>
                    <a:pt x="5127" y="7042"/>
                  </a:lnTo>
                  <a:lnTo>
                    <a:pt x="4880" y="7660"/>
                  </a:lnTo>
                  <a:lnTo>
                    <a:pt x="4695" y="8339"/>
                  </a:lnTo>
                  <a:lnTo>
                    <a:pt x="4571" y="9019"/>
                  </a:lnTo>
                  <a:lnTo>
                    <a:pt x="4571" y="9698"/>
                  </a:lnTo>
                  <a:lnTo>
                    <a:pt x="4571" y="9884"/>
                  </a:lnTo>
                  <a:lnTo>
                    <a:pt x="4077" y="10007"/>
                  </a:lnTo>
                  <a:lnTo>
                    <a:pt x="3645" y="10131"/>
                  </a:lnTo>
                  <a:lnTo>
                    <a:pt x="3150" y="10316"/>
                  </a:lnTo>
                  <a:lnTo>
                    <a:pt x="2780" y="10563"/>
                  </a:lnTo>
                  <a:lnTo>
                    <a:pt x="2347" y="10810"/>
                  </a:lnTo>
                  <a:lnTo>
                    <a:pt x="1977" y="11057"/>
                  </a:lnTo>
                  <a:lnTo>
                    <a:pt x="1606" y="11428"/>
                  </a:lnTo>
                  <a:lnTo>
                    <a:pt x="1297" y="11737"/>
                  </a:lnTo>
                  <a:lnTo>
                    <a:pt x="988" y="12107"/>
                  </a:lnTo>
                  <a:lnTo>
                    <a:pt x="741" y="12478"/>
                  </a:lnTo>
                  <a:lnTo>
                    <a:pt x="556" y="12849"/>
                  </a:lnTo>
                  <a:lnTo>
                    <a:pt x="371" y="13281"/>
                  </a:lnTo>
                  <a:lnTo>
                    <a:pt x="185" y="13713"/>
                  </a:lnTo>
                  <a:lnTo>
                    <a:pt x="124" y="14207"/>
                  </a:lnTo>
                  <a:lnTo>
                    <a:pt x="0" y="14640"/>
                  </a:lnTo>
                  <a:lnTo>
                    <a:pt x="0" y="15134"/>
                  </a:lnTo>
                  <a:lnTo>
                    <a:pt x="62" y="15690"/>
                  </a:lnTo>
                  <a:lnTo>
                    <a:pt x="124" y="16184"/>
                  </a:lnTo>
                  <a:lnTo>
                    <a:pt x="247" y="16740"/>
                  </a:lnTo>
                  <a:lnTo>
                    <a:pt x="494" y="17234"/>
                  </a:lnTo>
                  <a:lnTo>
                    <a:pt x="741" y="17667"/>
                  </a:lnTo>
                  <a:lnTo>
                    <a:pt x="988" y="18099"/>
                  </a:lnTo>
                  <a:lnTo>
                    <a:pt x="1359" y="18531"/>
                  </a:lnTo>
                  <a:lnTo>
                    <a:pt x="1730" y="18902"/>
                  </a:lnTo>
                  <a:lnTo>
                    <a:pt x="2162" y="19273"/>
                  </a:lnTo>
                  <a:lnTo>
                    <a:pt x="2594" y="19581"/>
                  </a:lnTo>
                  <a:lnTo>
                    <a:pt x="3089" y="19829"/>
                  </a:lnTo>
                  <a:lnTo>
                    <a:pt x="3583" y="20076"/>
                  </a:lnTo>
                  <a:lnTo>
                    <a:pt x="4139" y="20261"/>
                  </a:lnTo>
                  <a:lnTo>
                    <a:pt x="4695" y="20384"/>
                  </a:lnTo>
                  <a:lnTo>
                    <a:pt x="5251" y="20508"/>
                  </a:lnTo>
                  <a:lnTo>
                    <a:pt x="33233" y="20508"/>
                  </a:lnTo>
                  <a:lnTo>
                    <a:pt x="33789" y="20384"/>
                  </a:lnTo>
                  <a:lnTo>
                    <a:pt x="34344" y="20261"/>
                  </a:lnTo>
                  <a:lnTo>
                    <a:pt x="34900" y="20076"/>
                  </a:lnTo>
                  <a:lnTo>
                    <a:pt x="35395" y="19829"/>
                  </a:lnTo>
                  <a:lnTo>
                    <a:pt x="35889" y="19581"/>
                  </a:lnTo>
                  <a:lnTo>
                    <a:pt x="36321" y="19273"/>
                  </a:lnTo>
                  <a:lnTo>
                    <a:pt x="36753" y="18902"/>
                  </a:lnTo>
                  <a:lnTo>
                    <a:pt x="37124" y="18531"/>
                  </a:lnTo>
                  <a:lnTo>
                    <a:pt x="37495" y="18099"/>
                  </a:lnTo>
                  <a:lnTo>
                    <a:pt x="37742" y="17667"/>
                  </a:lnTo>
                  <a:lnTo>
                    <a:pt x="37989" y="17234"/>
                  </a:lnTo>
                  <a:lnTo>
                    <a:pt x="38236" y="16740"/>
                  </a:lnTo>
                  <a:lnTo>
                    <a:pt x="38360" y="16184"/>
                  </a:lnTo>
                  <a:lnTo>
                    <a:pt x="38421" y="15690"/>
                  </a:lnTo>
                  <a:lnTo>
                    <a:pt x="38483" y="15134"/>
                  </a:lnTo>
                  <a:lnTo>
                    <a:pt x="38421" y="14578"/>
                  </a:lnTo>
                  <a:lnTo>
                    <a:pt x="38360" y="14084"/>
                  </a:lnTo>
                  <a:lnTo>
                    <a:pt x="38236" y="13528"/>
                  </a:lnTo>
                  <a:lnTo>
                    <a:pt x="38051" y="13096"/>
                  </a:lnTo>
                  <a:lnTo>
                    <a:pt x="37804" y="12601"/>
                  </a:lnTo>
                  <a:lnTo>
                    <a:pt x="37495" y="12169"/>
                  </a:lnTo>
                  <a:lnTo>
                    <a:pt x="37186" y="11737"/>
                  </a:lnTo>
                  <a:lnTo>
                    <a:pt x="36815" y="11366"/>
                  </a:lnTo>
                  <a:lnTo>
                    <a:pt x="36445" y="11057"/>
                  </a:lnTo>
                  <a:lnTo>
                    <a:pt x="36012" y="10748"/>
                  </a:lnTo>
                  <a:lnTo>
                    <a:pt x="35580" y="10439"/>
                  </a:lnTo>
                  <a:lnTo>
                    <a:pt x="35086" y="10192"/>
                  </a:lnTo>
                  <a:lnTo>
                    <a:pt x="34530" y="10007"/>
                  </a:lnTo>
                  <a:lnTo>
                    <a:pt x="34036" y="9884"/>
                  </a:lnTo>
                  <a:lnTo>
                    <a:pt x="33480" y="9760"/>
                  </a:lnTo>
                  <a:lnTo>
                    <a:pt x="32862" y="9760"/>
                  </a:lnTo>
                  <a:lnTo>
                    <a:pt x="32985" y="8957"/>
                  </a:lnTo>
                  <a:lnTo>
                    <a:pt x="33047" y="8092"/>
                  </a:lnTo>
                  <a:lnTo>
                    <a:pt x="32985" y="7289"/>
                  </a:lnTo>
                  <a:lnTo>
                    <a:pt x="32862" y="6486"/>
                  </a:lnTo>
                  <a:lnTo>
                    <a:pt x="32677" y="5683"/>
                  </a:lnTo>
                  <a:lnTo>
                    <a:pt x="32368" y="4942"/>
                  </a:lnTo>
                  <a:lnTo>
                    <a:pt x="31997" y="4262"/>
                  </a:lnTo>
                  <a:lnTo>
                    <a:pt x="31565" y="3583"/>
                  </a:lnTo>
                  <a:lnTo>
                    <a:pt x="31071" y="2965"/>
                  </a:lnTo>
                  <a:lnTo>
                    <a:pt x="30453" y="2348"/>
                  </a:lnTo>
                  <a:lnTo>
                    <a:pt x="29835" y="1853"/>
                  </a:lnTo>
                  <a:lnTo>
                    <a:pt x="29156" y="1359"/>
                  </a:lnTo>
                  <a:lnTo>
                    <a:pt x="28414" y="927"/>
                  </a:lnTo>
                  <a:lnTo>
                    <a:pt x="27673" y="618"/>
                  </a:lnTo>
                  <a:lnTo>
                    <a:pt x="26870" y="371"/>
                  </a:lnTo>
                  <a:lnTo>
                    <a:pt x="26005" y="124"/>
                  </a:lnTo>
                  <a:lnTo>
                    <a:pt x="25141" y="0"/>
                  </a:lnTo>
                  <a:close/>
                </a:path>
              </a:pathLst>
            </a:custGeom>
            <a:solidFill>
              <a:srgbClr val="6DD2C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aphicFrame>
        <p:nvGraphicFramePr>
          <p:cNvPr id="3" name="Table Placeholder 10">
            <a:extLst>
              <a:ext uri="{FF2B5EF4-FFF2-40B4-BE49-F238E27FC236}">
                <a16:creationId xmlns:a16="http://schemas.microsoft.com/office/drawing/2014/main" id="{6A9FC7EB-1E65-B1CA-DDD9-AA3DDC7A16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8800514"/>
              </p:ext>
            </p:extLst>
          </p:nvPr>
        </p:nvGraphicFramePr>
        <p:xfrm>
          <a:off x="5210175" y="1310380"/>
          <a:ext cx="6589712" cy="277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4820">
                  <a:extLst>
                    <a:ext uri="{9D8B030D-6E8A-4147-A177-3AD203B41FA5}">
                      <a16:colId xmlns:a16="http://schemas.microsoft.com/office/drawing/2014/main" val="1314619758"/>
                    </a:ext>
                  </a:extLst>
                </a:gridCol>
                <a:gridCol w="5944892">
                  <a:extLst>
                    <a:ext uri="{9D8B030D-6E8A-4147-A177-3AD203B41FA5}">
                      <a16:colId xmlns:a16="http://schemas.microsoft.com/office/drawing/2014/main" val="3036823544"/>
                    </a:ext>
                  </a:extLst>
                </a:gridCol>
              </a:tblGrid>
              <a:tr h="326266"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r>
                        <a:rPr lang="nb-NO" sz="2800" noProof="0" dirty="0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0207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mmendrag</a:t>
                      </a:r>
                    </a:p>
                  </a:txBody>
                  <a:tcPr marL="0"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9130521"/>
                  </a:ext>
                </a:extLst>
              </a:tr>
              <a:tr h="332406"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r>
                        <a:rPr lang="nb-NO" sz="2800" b="1" noProof="0" dirty="0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0207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board</a:t>
                      </a:r>
                    </a:p>
                  </a:txBody>
                  <a:tcPr marL="0"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923806"/>
                  </a:ext>
                </a:extLst>
              </a:tr>
              <a:tr h="326266"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r>
                        <a:rPr lang="nb-NO" sz="2800" b="1" noProof="0" dirty="0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0207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nsikt fra gevinstverktøyet</a:t>
                      </a:r>
                    </a:p>
                  </a:txBody>
                  <a:tcPr marL="0"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88120"/>
                  </a:ext>
                </a:extLst>
              </a:tr>
              <a:tr h="3262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b="1" noProof="0" dirty="0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0207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re innsikter og perspektiver</a:t>
                      </a:r>
                    </a:p>
                  </a:txBody>
                  <a:tcPr marL="0"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93396"/>
                  </a:ext>
                </a:extLst>
              </a:tr>
              <a:tr h="3262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b="1" noProof="0" dirty="0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0207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sultater og refleksjoner</a:t>
                      </a:r>
                    </a:p>
                  </a:txBody>
                  <a:tcPr marL="0" marR="0"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65000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1660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A4BA18D6-34D0-5B56-6CBB-6799105412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9B54354E-9CEB-16DE-C84F-6F0BCD36EC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1334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54354E-9CEB-16DE-C84F-6F0BCD36E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5" name="Rectangle 704">
            <a:extLst>
              <a:ext uri="{FF2B5EF4-FFF2-40B4-BE49-F238E27FC236}">
                <a16:creationId xmlns:a16="http://schemas.microsoft.com/office/drawing/2014/main" id="{8F2C9BB0-C75B-1A5D-3858-F1961CA7E9F9}"/>
              </a:ext>
            </a:extLst>
          </p:cNvPr>
          <p:cNvSpPr>
            <a:spLocks/>
          </p:cNvSpPr>
          <p:nvPr/>
        </p:nvSpPr>
        <p:spPr>
          <a:xfrm>
            <a:off x="5641148" y="595484"/>
            <a:ext cx="5712652" cy="4359137"/>
          </a:xfrm>
          <a:prstGeom prst="rect">
            <a:avLst/>
          </a:prstGeom>
          <a:solidFill>
            <a:srgbClr val="CFD9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latin typeface="+mj-lt"/>
            </a:endParaRPr>
          </a:p>
        </p:txBody>
      </p:sp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B2CC1B0C-D380-8C6B-E569-BC7B85AB667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Sammendrag</a:t>
            </a:r>
          </a:p>
        </p:txBody>
      </p:sp>
      <p:sp>
        <p:nvSpPr>
          <p:cNvPr id="2" name="Google Shape;733;p138">
            <a:extLst>
              <a:ext uri="{FF2B5EF4-FFF2-40B4-BE49-F238E27FC236}">
                <a16:creationId xmlns:a16="http://schemas.microsoft.com/office/drawing/2014/main" id="{2174A0CC-989F-BB62-E000-F7A1E0C20B5D}"/>
              </a:ext>
            </a:extLst>
          </p:cNvPr>
          <p:cNvSpPr txBox="1">
            <a:spLocks/>
          </p:cNvSpPr>
          <p:nvPr/>
        </p:nvSpPr>
        <p:spPr>
          <a:xfrm>
            <a:off x="838200" y="1602213"/>
            <a:ext cx="4265023" cy="2343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 fontScale="7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1600" noProof="0"/>
              <a:t>[Eksempel] </a:t>
            </a:r>
            <a:r>
              <a:rPr lang="nb-NO" sz="1600"/>
              <a:t>Tiitaket frigjør ca. 999 </a:t>
            </a:r>
            <a:r>
              <a:rPr lang="nb-NO" sz="1600" noProof="0"/>
              <a:t>arbeidstimer per år, noe som tilsvarer </a:t>
            </a:r>
            <a:r>
              <a:rPr lang="nb-NO" sz="1600"/>
              <a:t>0,65 </a:t>
            </a:r>
            <a:r>
              <a:rPr lang="nb-NO" sz="1600" noProof="0"/>
              <a:t>årsverk.</a:t>
            </a:r>
            <a:endParaRPr lang="en-US"/>
          </a:p>
          <a:p>
            <a:pPr marL="171450" indent="-171450">
              <a:lnSpc>
                <a:spcPct val="200000"/>
              </a:lnSpc>
              <a:spcBef>
                <a:spcPts val="600"/>
              </a:spcBef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1600" noProof="0"/>
              <a:t>Gevinsten</a:t>
            </a:r>
            <a:r>
              <a:rPr lang="nb-NO" sz="1600"/>
              <a:t> kan gi</a:t>
            </a:r>
            <a:r>
              <a:rPr lang="nb-NO" sz="1600" noProof="0"/>
              <a:t> økt kapasitet uten ekstra bemanning – flere </a:t>
            </a:r>
            <a:r>
              <a:rPr lang="nb-NO" sz="1600" noProof="0" dirty="0"/>
              <a:t>pasienter kan følges opp hjemme med bedre kvalitet og raskere respons.</a:t>
            </a:r>
          </a:p>
          <a:p>
            <a:pPr marL="171450" indent="-171450">
              <a:lnSpc>
                <a:spcPct val="200000"/>
              </a:lnSpc>
              <a:spcBef>
                <a:spcPts val="600"/>
              </a:spcBef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1600" noProof="0" dirty="0"/>
              <a:t>Alle tall er eks. MVA</a:t>
            </a:r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noProof="0" dirty="0"/>
          </a:p>
          <a:p>
            <a:pPr marL="171450" marR="0" lvl="0" indent="-171450" algn="l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3" name="Google Shape;734;p138">
            <a:extLst>
              <a:ext uri="{FF2B5EF4-FFF2-40B4-BE49-F238E27FC236}">
                <a16:creationId xmlns:a16="http://schemas.microsoft.com/office/drawing/2014/main" id="{7E46DD0F-A9E3-940F-0238-CDCB3D3A6698}"/>
              </a:ext>
            </a:extLst>
          </p:cNvPr>
          <p:cNvGrpSpPr/>
          <p:nvPr/>
        </p:nvGrpSpPr>
        <p:grpSpPr>
          <a:xfrm flipH="1">
            <a:off x="252410" y="4219938"/>
            <a:ext cx="3126515" cy="2272937"/>
            <a:chOff x="238125" y="542250"/>
            <a:chExt cx="7143750" cy="4630475"/>
          </a:xfrm>
        </p:grpSpPr>
        <p:sp>
          <p:nvSpPr>
            <p:cNvPr id="4" name="Google Shape;735;p138">
              <a:extLst>
                <a:ext uri="{FF2B5EF4-FFF2-40B4-BE49-F238E27FC236}">
                  <a16:creationId xmlns:a16="http://schemas.microsoft.com/office/drawing/2014/main" id="{DF59053C-FDD6-4255-59AC-75CF30E7BBE5}"/>
                </a:ext>
              </a:extLst>
            </p:cNvPr>
            <p:cNvSpPr/>
            <p:nvPr/>
          </p:nvSpPr>
          <p:spPr>
            <a:xfrm>
              <a:off x="968375" y="3497725"/>
              <a:ext cx="2456950" cy="1195225"/>
            </a:xfrm>
            <a:custGeom>
              <a:avLst/>
              <a:gdLst/>
              <a:ahLst/>
              <a:cxnLst/>
              <a:rect l="l" t="t" r="r" b="b"/>
              <a:pathLst>
                <a:path w="98278" h="47809" extrusionOk="0">
                  <a:moveTo>
                    <a:pt x="7984" y="1"/>
                  </a:moveTo>
                  <a:lnTo>
                    <a:pt x="7421" y="32"/>
                  </a:lnTo>
                  <a:lnTo>
                    <a:pt x="6857" y="94"/>
                  </a:lnTo>
                  <a:lnTo>
                    <a:pt x="6325" y="157"/>
                  </a:lnTo>
                  <a:lnTo>
                    <a:pt x="5824" y="282"/>
                  </a:lnTo>
                  <a:lnTo>
                    <a:pt x="5292" y="408"/>
                  </a:lnTo>
                  <a:lnTo>
                    <a:pt x="4822" y="564"/>
                  </a:lnTo>
                  <a:lnTo>
                    <a:pt x="4352" y="752"/>
                  </a:lnTo>
                  <a:lnTo>
                    <a:pt x="3883" y="971"/>
                  </a:lnTo>
                  <a:lnTo>
                    <a:pt x="3444" y="1222"/>
                  </a:lnTo>
                  <a:lnTo>
                    <a:pt x="2662" y="1723"/>
                  </a:lnTo>
                  <a:lnTo>
                    <a:pt x="2004" y="2192"/>
                  </a:lnTo>
                  <a:lnTo>
                    <a:pt x="1409" y="2630"/>
                  </a:lnTo>
                  <a:lnTo>
                    <a:pt x="971" y="3069"/>
                  </a:lnTo>
                  <a:lnTo>
                    <a:pt x="595" y="3476"/>
                  </a:lnTo>
                  <a:lnTo>
                    <a:pt x="314" y="3883"/>
                  </a:lnTo>
                  <a:lnTo>
                    <a:pt x="126" y="4258"/>
                  </a:lnTo>
                  <a:lnTo>
                    <a:pt x="32" y="4603"/>
                  </a:lnTo>
                  <a:lnTo>
                    <a:pt x="1" y="4947"/>
                  </a:lnTo>
                  <a:lnTo>
                    <a:pt x="63" y="5260"/>
                  </a:lnTo>
                  <a:lnTo>
                    <a:pt x="157" y="5542"/>
                  </a:lnTo>
                  <a:lnTo>
                    <a:pt x="345" y="5824"/>
                  </a:lnTo>
                  <a:lnTo>
                    <a:pt x="564" y="6106"/>
                  </a:lnTo>
                  <a:lnTo>
                    <a:pt x="815" y="6356"/>
                  </a:lnTo>
                  <a:lnTo>
                    <a:pt x="1128" y="6607"/>
                  </a:lnTo>
                  <a:lnTo>
                    <a:pt x="1503" y="6826"/>
                  </a:lnTo>
                  <a:lnTo>
                    <a:pt x="1879" y="7045"/>
                  </a:lnTo>
                  <a:lnTo>
                    <a:pt x="2286" y="7264"/>
                  </a:lnTo>
                  <a:lnTo>
                    <a:pt x="3163" y="7640"/>
                  </a:lnTo>
                  <a:lnTo>
                    <a:pt x="4102" y="7984"/>
                  </a:lnTo>
                  <a:lnTo>
                    <a:pt x="5010" y="8297"/>
                  </a:lnTo>
                  <a:lnTo>
                    <a:pt x="5887" y="8610"/>
                  </a:lnTo>
                  <a:lnTo>
                    <a:pt x="6638" y="8892"/>
                  </a:lnTo>
                  <a:lnTo>
                    <a:pt x="7295" y="9143"/>
                  </a:lnTo>
                  <a:lnTo>
                    <a:pt x="7546" y="9299"/>
                  </a:lnTo>
                  <a:lnTo>
                    <a:pt x="7734" y="9424"/>
                  </a:lnTo>
                  <a:lnTo>
                    <a:pt x="8203" y="9550"/>
                  </a:lnTo>
                  <a:lnTo>
                    <a:pt x="8642" y="9737"/>
                  </a:lnTo>
                  <a:lnTo>
                    <a:pt x="9080" y="9925"/>
                  </a:lnTo>
                  <a:lnTo>
                    <a:pt x="9550" y="10144"/>
                  </a:lnTo>
                  <a:lnTo>
                    <a:pt x="10426" y="10614"/>
                  </a:lnTo>
                  <a:lnTo>
                    <a:pt x="11303" y="11178"/>
                  </a:lnTo>
                  <a:lnTo>
                    <a:pt x="12179" y="11804"/>
                  </a:lnTo>
                  <a:lnTo>
                    <a:pt x="13056" y="12493"/>
                  </a:lnTo>
                  <a:lnTo>
                    <a:pt x="13901" y="13244"/>
                  </a:lnTo>
                  <a:lnTo>
                    <a:pt x="14747" y="14027"/>
                  </a:lnTo>
                  <a:lnTo>
                    <a:pt x="15592" y="14872"/>
                  </a:lnTo>
                  <a:lnTo>
                    <a:pt x="16406" y="15749"/>
                  </a:lnTo>
                  <a:lnTo>
                    <a:pt x="17189" y="16625"/>
                  </a:lnTo>
                  <a:lnTo>
                    <a:pt x="17971" y="17564"/>
                  </a:lnTo>
                  <a:lnTo>
                    <a:pt x="18754" y="18504"/>
                  </a:lnTo>
                  <a:lnTo>
                    <a:pt x="19474" y="19443"/>
                  </a:lnTo>
                  <a:lnTo>
                    <a:pt x="20194" y="20382"/>
                  </a:lnTo>
                  <a:lnTo>
                    <a:pt x="20883" y="21353"/>
                  </a:lnTo>
                  <a:lnTo>
                    <a:pt x="22167" y="23231"/>
                  </a:lnTo>
                  <a:lnTo>
                    <a:pt x="23325" y="25016"/>
                  </a:lnTo>
                  <a:lnTo>
                    <a:pt x="24327" y="26644"/>
                  </a:lnTo>
                  <a:lnTo>
                    <a:pt x="25204" y="28115"/>
                  </a:lnTo>
                  <a:lnTo>
                    <a:pt x="25892" y="29336"/>
                  </a:lnTo>
                  <a:lnTo>
                    <a:pt x="26393" y="30276"/>
                  </a:lnTo>
                  <a:lnTo>
                    <a:pt x="26832" y="31090"/>
                  </a:lnTo>
                  <a:lnTo>
                    <a:pt x="46650" y="47808"/>
                  </a:lnTo>
                  <a:lnTo>
                    <a:pt x="92516" y="32185"/>
                  </a:lnTo>
                  <a:lnTo>
                    <a:pt x="98277" y="5010"/>
                  </a:lnTo>
                  <a:lnTo>
                    <a:pt x="94301" y="6231"/>
                  </a:lnTo>
                  <a:lnTo>
                    <a:pt x="90074" y="7483"/>
                  </a:lnTo>
                  <a:lnTo>
                    <a:pt x="81151" y="10144"/>
                  </a:lnTo>
                  <a:lnTo>
                    <a:pt x="71978" y="12806"/>
                  </a:lnTo>
                  <a:lnTo>
                    <a:pt x="63118" y="15342"/>
                  </a:lnTo>
                  <a:lnTo>
                    <a:pt x="55072" y="17627"/>
                  </a:lnTo>
                  <a:lnTo>
                    <a:pt x="48372" y="19506"/>
                  </a:lnTo>
                  <a:lnTo>
                    <a:pt x="43519" y="20820"/>
                  </a:lnTo>
                  <a:lnTo>
                    <a:pt x="41046" y="21478"/>
                  </a:lnTo>
                  <a:lnTo>
                    <a:pt x="40419" y="20351"/>
                  </a:lnTo>
                  <a:lnTo>
                    <a:pt x="39699" y="19255"/>
                  </a:lnTo>
                  <a:lnTo>
                    <a:pt x="38885" y="18128"/>
                  </a:lnTo>
                  <a:lnTo>
                    <a:pt x="38009" y="17001"/>
                  </a:lnTo>
                  <a:lnTo>
                    <a:pt x="37038" y="15874"/>
                  </a:lnTo>
                  <a:lnTo>
                    <a:pt x="36036" y="14747"/>
                  </a:lnTo>
                  <a:lnTo>
                    <a:pt x="34941" y="13651"/>
                  </a:lnTo>
                  <a:lnTo>
                    <a:pt x="33813" y="12555"/>
                  </a:lnTo>
                  <a:lnTo>
                    <a:pt x="32592" y="11491"/>
                  </a:lnTo>
                  <a:lnTo>
                    <a:pt x="31371" y="10457"/>
                  </a:lnTo>
                  <a:lnTo>
                    <a:pt x="30088" y="9424"/>
                  </a:lnTo>
                  <a:lnTo>
                    <a:pt x="28773" y="8422"/>
                  </a:lnTo>
                  <a:lnTo>
                    <a:pt x="27427" y="7483"/>
                  </a:lnTo>
                  <a:lnTo>
                    <a:pt x="26080" y="6575"/>
                  </a:lnTo>
                  <a:lnTo>
                    <a:pt x="24703" y="5699"/>
                  </a:lnTo>
                  <a:lnTo>
                    <a:pt x="23294" y="4885"/>
                  </a:lnTo>
                  <a:lnTo>
                    <a:pt x="21885" y="4102"/>
                  </a:lnTo>
                  <a:lnTo>
                    <a:pt x="20476" y="3382"/>
                  </a:lnTo>
                  <a:lnTo>
                    <a:pt x="19067" y="2724"/>
                  </a:lnTo>
                  <a:lnTo>
                    <a:pt x="17690" y="2098"/>
                  </a:lnTo>
                  <a:lnTo>
                    <a:pt x="16281" y="1566"/>
                  </a:lnTo>
                  <a:lnTo>
                    <a:pt x="14935" y="1096"/>
                  </a:lnTo>
                  <a:lnTo>
                    <a:pt x="13588" y="721"/>
                  </a:lnTo>
                  <a:lnTo>
                    <a:pt x="12273" y="408"/>
                  </a:lnTo>
                  <a:lnTo>
                    <a:pt x="11616" y="282"/>
                  </a:lnTo>
                  <a:lnTo>
                    <a:pt x="10990" y="188"/>
                  </a:lnTo>
                  <a:lnTo>
                    <a:pt x="10364" y="94"/>
                  </a:lnTo>
                  <a:lnTo>
                    <a:pt x="9769" y="32"/>
                  </a:lnTo>
                  <a:lnTo>
                    <a:pt x="9143" y="1"/>
                  </a:lnTo>
                  <a:close/>
                </a:path>
              </a:pathLst>
            </a:custGeom>
            <a:solidFill>
              <a:srgbClr val="D68778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" name="Google Shape;736;p138">
              <a:extLst>
                <a:ext uri="{FF2B5EF4-FFF2-40B4-BE49-F238E27FC236}">
                  <a16:creationId xmlns:a16="http://schemas.microsoft.com/office/drawing/2014/main" id="{2C8CB9D4-6C0E-CF11-FEE4-CAC644A34D0B}"/>
                </a:ext>
              </a:extLst>
            </p:cNvPr>
            <p:cNvSpPr/>
            <p:nvPr/>
          </p:nvSpPr>
          <p:spPr>
            <a:xfrm>
              <a:off x="968375" y="3497725"/>
              <a:ext cx="2456950" cy="1195225"/>
            </a:xfrm>
            <a:custGeom>
              <a:avLst/>
              <a:gdLst/>
              <a:ahLst/>
              <a:cxnLst/>
              <a:rect l="l" t="t" r="r" b="b"/>
              <a:pathLst>
                <a:path w="98278" h="47809" fill="none" extrusionOk="0">
                  <a:moveTo>
                    <a:pt x="98277" y="5010"/>
                  </a:moveTo>
                  <a:lnTo>
                    <a:pt x="98277" y="5010"/>
                  </a:lnTo>
                  <a:lnTo>
                    <a:pt x="94301" y="6231"/>
                  </a:lnTo>
                  <a:lnTo>
                    <a:pt x="90074" y="7483"/>
                  </a:lnTo>
                  <a:lnTo>
                    <a:pt x="81151" y="10144"/>
                  </a:lnTo>
                  <a:lnTo>
                    <a:pt x="71978" y="12806"/>
                  </a:lnTo>
                  <a:lnTo>
                    <a:pt x="63118" y="15342"/>
                  </a:lnTo>
                  <a:lnTo>
                    <a:pt x="55072" y="17627"/>
                  </a:lnTo>
                  <a:lnTo>
                    <a:pt x="48372" y="19506"/>
                  </a:lnTo>
                  <a:lnTo>
                    <a:pt x="43519" y="20820"/>
                  </a:lnTo>
                  <a:lnTo>
                    <a:pt x="41046" y="21478"/>
                  </a:lnTo>
                  <a:lnTo>
                    <a:pt x="41046" y="21478"/>
                  </a:lnTo>
                  <a:lnTo>
                    <a:pt x="40419" y="20351"/>
                  </a:lnTo>
                  <a:lnTo>
                    <a:pt x="39699" y="19255"/>
                  </a:lnTo>
                  <a:lnTo>
                    <a:pt x="38885" y="18128"/>
                  </a:lnTo>
                  <a:lnTo>
                    <a:pt x="38009" y="17001"/>
                  </a:lnTo>
                  <a:lnTo>
                    <a:pt x="37038" y="15874"/>
                  </a:lnTo>
                  <a:lnTo>
                    <a:pt x="36036" y="14747"/>
                  </a:lnTo>
                  <a:lnTo>
                    <a:pt x="34941" y="13651"/>
                  </a:lnTo>
                  <a:lnTo>
                    <a:pt x="33813" y="12555"/>
                  </a:lnTo>
                  <a:lnTo>
                    <a:pt x="32592" y="11491"/>
                  </a:lnTo>
                  <a:lnTo>
                    <a:pt x="31371" y="10457"/>
                  </a:lnTo>
                  <a:lnTo>
                    <a:pt x="30088" y="9424"/>
                  </a:lnTo>
                  <a:lnTo>
                    <a:pt x="28773" y="8422"/>
                  </a:lnTo>
                  <a:lnTo>
                    <a:pt x="27427" y="7483"/>
                  </a:lnTo>
                  <a:lnTo>
                    <a:pt x="26080" y="6575"/>
                  </a:lnTo>
                  <a:lnTo>
                    <a:pt x="24703" y="5699"/>
                  </a:lnTo>
                  <a:lnTo>
                    <a:pt x="23294" y="4885"/>
                  </a:lnTo>
                  <a:lnTo>
                    <a:pt x="21885" y="4102"/>
                  </a:lnTo>
                  <a:lnTo>
                    <a:pt x="20476" y="3382"/>
                  </a:lnTo>
                  <a:lnTo>
                    <a:pt x="19067" y="2724"/>
                  </a:lnTo>
                  <a:lnTo>
                    <a:pt x="17690" y="2098"/>
                  </a:lnTo>
                  <a:lnTo>
                    <a:pt x="16281" y="1566"/>
                  </a:lnTo>
                  <a:lnTo>
                    <a:pt x="14935" y="1096"/>
                  </a:lnTo>
                  <a:lnTo>
                    <a:pt x="13588" y="721"/>
                  </a:lnTo>
                  <a:lnTo>
                    <a:pt x="12273" y="408"/>
                  </a:lnTo>
                  <a:lnTo>
                    <a:pt x="11616" y="282"/>
                  </a:lnTo>
                  <a:lnTo>
                    <a:pt x="10990" y="188"/>
                  </a:lnTo>
                  <a:lnTo>
                    <a:pt x="10364" y="94"/>
                  </a:lnTo>
                  <a:lnTo>
                    <a:pt x="9769" y="32"/>
                  </a:lnTo>
                  <a:lnTo>
                    <a:pt x="9143" y="1"/>
                  </a:lnTo>
                  <a:lnTo>
                    <a:pt x="8548" y="1"/>
                  </a:lnTo>
                  <a:lnTo>
                    <a:pt x="7984" y="1"/>
                  </a:lnTo>
                  <a:lnTo>
                    <a:pt x="7421" y="32"/>
                  </a:lnTo>
                  <a:lnTo>
                    <a:pt x="6857" y="94"/>
                  </a:lnTo>
                  <a:lnTo>
                    <a:pt x="6325" y="157"/>
                  </a:lnTo>
                  <a:lnTo>
                    <a:pt x="5824" y="282"/>
                  </a:lnTo>
                  <a:lnTo>
                    <a:pt x="5292" y="408"/>
                  </a:lnTo>
                  <a:lnTo>
                    <a:pt x="4822" y="564"/>
                  </a:lnTo>
                  <a:lnTo>
                    <a:pt x="4352" y="752"/>
                  </a:lnTo>
                  <a:lnTo>
                    <a:pt x="3883" y="971"/>
                  </a:lnTo>
                  <a:lnTo>
                    <a:pt x="3444" y="1222"/>
                  </a:lnTo>
                  <a:lnTo>
                    <a:pt x="3444" y="1222"/>
                  </a:lnTo>
                  <a:lnTo>
                    <a:pt x="2662" y="1723"/>
                  </a:lnTo>
                  <a:lnTo>
                    <a:pt x="2004" y="2192"/>
                  </a:lnTo>
                  <a:lnTo>
                    <a:pt x="1409" y="2630"/>
                  </a:lnTo>
                  <a:lnTo>
                    <a:pt x="971" y="3069"/>
                  </a:lnTo>
                  <a:lnTo>
                    <a:pt x="595" y="3476"/>
                  </a:lnTo>
                  <a:lnTo>
                    <a:pt x="314" y="3883"/>
                  </a:lnTo>
                  <a:lnTo>
                    <a:pt x="126" y="4258"/>
                  </a:lnTo>
                  <a:lnTo>
                    <a:pt x="32" y="4603"/>
                  </a:lnTo>
                  <a:lnTo>
                    <a:pt x="1" y="4947"/>
                  </a:lnTo>
                  <a:lnTo>
                    <a:pt x="63" y="5260"/>
                  </a:lnTo>
                  <a:lnTo>
                    <a:pt x="157" y="5542"/>
                  </a:lnTo>
                  <a:lnTo>
                    <a:pt x="345" y="5824"/>
                  </a:lnTo>
                  <a:lnTo>
                    <a:pt x="564" y="6106"/>
                  </a:lnTo>
                  <a:lnTo>
                    <a:pt x="815" y="6356"/>
                  </a:lnTo>
                  <a:lnTo>
                    <a:pt x="1128" y="6607"/>
                  </a:lnTo>
                  <a:lnTo>
                    <a:pt x="1503" y="6826"/>
                  </a:lnTo>
                  <a:lnTo>
                    <a:pt x="1879" y="7045"/>
                  </a:lnTo>
                  <a:lnTo>
                    <a:pt x="2286" y="7264"/>
                  </a:lnTo>
                  <a:lnTo>
                    <a:pt x="3163" y="7640"/>
                  </a:lnTo>
                  <a:lnTo>
                    <a:pt x="4102" y="7984"/>
                  </a:lnTo>
                  <a:lnTo>
                    <a:pt x="5010" y="8297"/>
                  </a:lnTo>
                  <a:lnTo>
                    <a:pt x="5887" y="8610"/>
                  </a:lnTo>
                  <a:lnTo>
                    <a:pt x="6638" y="8892"/>
                  </a:lnTo>
                  <a:lnTo>
                    <a:pt x="7295" y="9143"/>
                  </a:lnTo>
                  <a:lnTo>
                    <a:pt x="7546" y="9299"/>
                  </a:lnTo>
                  <a:lnTo>
                    <a:pt x="7734" y="9424"/>
                  </a:lnTo>
                  <a:lnTo>
                    <a:pt x="7734" y="9424"/>
                  </a:lnTo>
                  <a:lnTo>
                    <a:pt x="8203" y="9550"/>
                  </a:lnTo>
                  <a:lnTo>
                    <a:pt x="8642" y="9737"/>
                  </a:lnTo>
                  <a:lnTo>
                    <a:pt x="9080" y="9925"/>
                  </a:lnTo>
                  <a:lnTo>
                    <a:pt x="9550" y="10144"/>
                  </a:lnTo>
                  <a:lnTo>
                    <a:pt x="10426" y="10614"/>
                  </a:lnTo>
                  <a:lnTo>
                    <a:pt x="11303" y="11178"/>
                  </a:lnTo>
                  <a:lnTo>
                    <a:pt x="12179" y="11804"/>
                  </a:lnTo>
                  <a:lnTo>
                    <a:pt x="13056" y="12493"/>
                  </a:lnTo>
                  <a:lnTo>
                    <a:pt x="13901" y="13244"/>
                  </a:lnTo>
                  <a:lnTo>
                    <a:pt x="14747" y="14027"/>
                  </a:lnTo>
                  <a:lnTo>
                    <a:pt x="15592" y="14872"/>
                  </a:lnTo>
                  <a:lnTo>
                    <a:pt x="16406" y="15749"/>
                  </a:lnTo>
                  <a:lnTo>
                    <a:pt x="17189" y="16625"/>
                  </a:lnTo>
                  <a:lnTo>
                    <a:pt x="17971" y="17564"/>
                  </a:lnTo>
                  <a:lnTo>
                    <a:pt x="18754" y="18504"/>
                  </a:lnTo>
                  <a:lnTo>
                    <a:pt x="19474" y="19443"/>
                  </a:lnTo>
                  <a:lnTo>
                    <a:pt x="20194" y="20382"/>
                  </a:lnTo>
                  <a:lnTo>
                    <a:pt x="20883" y="21353"/>
                  </a:lnTo>
                  <a:lnTo>
                    <a:pt x="22167" y="23231"/>
                  </a:lnTo>
                  <a:lnTo>
                    <a:pt x="23325" y="25016"/>
                  </a:lnTo>
                  <a:lnTo>
                    <a:pt x="24327" y="26644"/>
                  </a:lnTo>
                  <a:lnTo>
                    <a:pt x="25204" y="28115"/>
                  </a:lnTo>
                  <a:lnTo>
                    <a:pt x="25892" y="29336"/>
                  </a:lnTo>
                  <a:lnTo>
                    <a:pt x="26393" y="30276"/>
                  </a:lnTo>
                  <a:lnTo>
                    <a:pt x="26832" y="31090"/>
                  </a:lnTo>
                  <a:lnTo>
                    <a:pt x="46650" y="47808"/>
                  </a:lnTo>
                  <a:lnTo>
                    <a:pt x="92516" y="32185"/>
                  </a:lnTo>
                  <a:lnTo>
                    <a:pt x="98277" y="501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" name="Google Shape;737;p138">
              <a:extLst>
                <a:ext uri="{FF2B5EF4-FFF2-40B4-BE49-F238E27FC236}">
                  <a16:creationId xmlns:a16="http://schemas.microsoft.com/office/drawing/2014/main" id="{E36FFE85-282F-B869-ACD5-6EE7D1624CA9}"/>
                </a:ext>
              </a:extLst>
            </p:cNvPr>
            <p:cNvSpPr/>
            <p:nvPr/>
          </p:nvSpPr>
          <p:spPr>
            <a:xfrm>
              <a:off x="760175" y="3489900"/>
              <a:ext cx="1968525" cy="1406550"/>
            </a:xfrm>
            <a:custGeom>
              <a:avLst/>
              <a:gdLst/>
              <a:ahLst/>
              <a:cxnLst/>
              <a:rect l="l" t="t" r="r" b="b"/>
              <a:pathLst>
                <a:path w="78741" h="56262" extrusionOk="0">
                  <a:moveTo>
                    <a:pt x="4196" y="0"/>
                  </a:moveTo>
                  <a:lnTo>
                    <a:pt x="3507" y="32"/>
                  </a:lnTo>
                  <a:lnTo>
                    <a:pt x="2787" y="94"/>
                  </a:lnTo>
                  <a:lnTo>
                    <a:pt x="2067" y="188"/>
                  </a:lnTo>
                  <a:lnTo>
                    <a:pt x="1347" y="314"/>
                  </a:lnTo>
                  <a:lnTo>
                    <a:pt x="1159" y="376"/>
                  </a:lnTo>
                  <a:lnTo>
                    <a:pt x="971" y="439"/>
                  </a:lnTo>
                  <a:lnTo>
                    <a:pt x="815" y="533"/>
                  </a:lnTo>
                  <a:lnTo>
                    <a:pt x="658" y="627"/>
                  </a:lnTo>
                  <a:lnTo>
                    <a:pt x="533" y="752"/>
                  </a:lnTo>
                  <a:lnTo>
                    <a:pt x="376" y="877"/>
                  </a:lnTo>
                  <a:lnTo>
                    <a:pt x="282" y="1034"/>
                  </a:lnTo>
                  <a:lnTo>
                    <a:pt x="188" y="1190"/>
                  </a:lnTo>
                  <a:lnTo>
                    <a:pt x="94" y="1347"/>
                  </a:lnTo>
                  <a:lnTo>
                    <a:pt x="32" y="1503"/>
                  </a:lnTo>
                  <a:lnTo>
                    <a:pt x="1" y="1691"/>
                  </a:lnTo>
                  <a:lnTo>
                    <a:pt x="1" y="1848"/>
                  </a:lnTo>
                  <a:lnTo>
                    <a:pt x="1" y="2036"/>
                  </a:lnTo>
                  <a:lnTo>
                    <a:pt x="32" y="2192"/>
                  </a:lnTo>
                  <a:lnTo>
                    <a:pt x="126" y="2380"/>
                  </a:lnTo>
                  <a:lnTo>
                    <a:pt x="220" y="2536"/>
                  </a:lnTo>
                  <a:lnTo>
                    <a:pt x="909" y="3570"/>
                  </a:lnTo>
                  <a:lnTo>
                    <a:pt x="1597" y="4665"/>
                  </a:lnTo>
                  <a:lnTo>
                    <a:pt x="2286" y="5792"/>
                  </a:lnTo>
                  <a:lnTo>
                    <a:pt x="2944" y="6951"/>
                  </a:lnTo>
                  <a:lnTo>
                    <a:pt x="3601" y="8109"/>
                  </a:lnTo>
                  <a:lnTo>
                    <a:pt x="4227" y="9330"/>
                  </a:lnTo>
                  <a:lnTo>
                    <a:pt x="4822" y="10551"/>
                  </a:lnTo>
                  <a:lnTo>
                    <a:pt x="5417" y="11772"/>
                  </a:lnTo>
                  <a:lnTo>
                    <a:pt x="6012" y="13025"/>
                  </a:lnTo>
                  <a:lnTo>
                    <a:pt x="6544" y="14277"/>
                  </a:lnTo>
                  <a:lnTo>
                    <a:pt x="7108" y="15529"/>
                  </a:lnTo>
                  <a:lnTo>
                    <a:pt x="7608" y="16813"/>
                  </a:lnTo>
                  <a:lnTo>
                    <a:pt x="8579" y="19318"/>
                  </a:lnTo>
                  <a:lnTo>
                    <a:pt x="9456" y="21760"/>
                  </a:lnTo>
                  <a:lnTo>
                    <a:pt x="10207" y="24139"/>
                  </a:lnTo>
                  <a:lnTo>
                    <a:pt x="10896" y="26425"/>
                  </a:lnTo>
                  <a:lnTo>
                    <a:pt x="11459" y="28554"/>
                  </a:lnTo>
                  <a:lnTo>
                    <a:pt x="11898" y="30526"/>
                  </a:lnTo>
                  <a:lnTo>
                    <a:pt x="12086" y="31434"/>
                  </a:lnTo>
                  <a:lnTo>
                    <a:pt x="12211" y="32279"/>
                  </a:lnTo>
                  <a:lnTo>
                    <a:pt x="12336" y="33062"/>
                  </a:lnTo>
                  <a:lnTo>
                    <a:pt x="12430" y="33813"/>
                  </a:lnTo>
                  <a:lnTo>
                    <a:pt x="12461" y="34471"/>
                  </a:lnTo>
                  <a:lnTo>
                    <a:pt x="12493" y="35066"/>
                  </a:lnTo>
                  <a:lnTo>
                    <a:pt x="12461" y="35598"/>
                  </a:lnTo>
                  <a:lnTo>
                    <a:pt x="12399" y="36036"/>
                  </a:lnTo>
                  <a:lnTo>
                    <a:pt x="13651" y="36412"/>
                  </a:lnTo>
                  <a:lnTo>
                    <a:pt x="14935" y="36819"/>
                  </a:lnTo>
                  <a:lnTo>
                    <a:pt x="16281" y="37320"/>
                  </a:lnTo>
                  <a:lnTo>
                    <a:pt x="17690" y="37883"/>
                  </a:lnTo>
                  <a:lnTo>
                    <a:pt x="19099" y="38510"/>
                  </a:lnTo>
                  <a:lnTo>
                    <a:pt x="20570" y="39167"/>
                  </a:lnTo>
                  <a:lnTo>
                    <a:pt x="22042" y="39856"/>
                  </a:lnTo>
                  <a:lnTo>
                    <a:pt x="23544" y="40607"/>
                  </a:lnTo>
                  <a:lnTo>
                    <a:pt x="25047" y="41421"/>
                  </a:lnTo>
                  <a:lnTo>
                    <a:pt x="26581" y="42235"/>
                  </a:lnTo>
                  <a:lnTo>
                    <a:pt x="28084" y="43049"/>
                  </a:lnTo>
                  <a:lnTo>
                    <a:pt x="29587" y="43926"/>
                  </a:lnTo>
                  <a:lnTo>
                    <a:pt x="32592" y="45648"/>
                  </a:lnTo>
                  <a:lnTo>
                    <a:pt x="35473" y="47401"/>
                  </a:lnTo>
                  <a:lnTo>
                    <a:pt x="38197" y="49123"/>
                  </a:lnTo>
                  <a:lnTo>
                    <a:pt x="40701" y="50751"/>
                  </a:lnTo>
                  <a:lnTo>
                    <a:pt x="42987" y="52254"/>
                  </a:lnTo>
                  <a:lnTo>
                    <a:pt x="44959" y="53569"/>
                  </a:lnTo>
                  <a:lnTo>
                    <a:pt x="47808" y="55510"/>
                  </a:lnTo>
                  <a:lnTo>
                    <a:pt x="48841" y="56261"/>
                  </a:lnTo>
                  <a:lnTo>
                    <a:pt x="78741" y="36600"/>
                  </a:lnTo>
                  <a:lnTo>
                    <a:pt x="54258" y="27646"/>
                  </a:lnTo>
                  <a:lnTo>
                    <a:pt x="51628" y="27301"/>
                  </a:lnTo>
                  <a:lnTo>
                    <a:pt x="48309" y="26894"/>
                  </a:lnTo>
                  <a:lnTo>
                    <a:pt x="44521" y="26518"/>
                  </a:lnTo>
                  <a:lnTo>
                    <a:pt x="42548" y="26331"/>
                  </a:lnTo>
                  <a:lnTo>
                    <a:pt x="40545" y="26143"/>
                  </a:lnTo>
                  <a:lnTo>
                    <a:pt x="38510" y="26018"/>
                  </a:lnTo>
                  <a:lnTo>
                    <a:pt x="36506" y="25892"/>
                  </a:lnTo>
                  <a:lnTo>
                    <a:pt x="34565" y="25830"/>
                  </a:lnTo>
                  <a:lnTo>
                    <a:pt x="32718" y="25798"/>
                  </a:lnTo>
                  <a:lnTo>
                    <a:pt x="30964" y="25830"/>
                  </a:lnTo>
                  <a:lnTo>
                    <a:pt x="29336" y="25892"/>
                  </a:lnTo>
                  <a:lnTo>
                    <a:pt x="28585" y="25955"/>
                  </a:lnTo>
                  <a:lnTo>
                    <a:pt x="27865" y="26018"/>
                  </a:lnTo>
                  <a:lnTo>
                    <a:pt x="27207" y="26111"/>
                  </a:lnTo>
                  <a:lnTo>
                    <a:pt x="26613" y="26237"/>
                  </a:lnTo>
                  <a:lnTo>
                    <a:pt x="26237" y="24828"/>
                  </a:lnTo>
                  <a:lnTo>
                    <a:pt x="25705" y="23106"/>
                  </a:lnTo>
                  <a:lnTo>
                    <a:pt x="25392" y="22167"/>
                  </a:lnTo>
                  <a:lnTo>
                    <a:pt x="25047" y="21133"/>
                  </a:lnTo>
                  <a:lnTo>
                    <a:pt x="24640" y="20069"/>
                  </a:lnTo>
                  <a:lnTo>
                    <a:pt x="24202" y="18973"/>
                  </a:lnTo>
                  <a:lnTo>
                    <a:pt x="23732" y="17846"/>
                  </a:lnTo>
                  <a:lnTo>
                    <a:pt x="23200" y="16688"/>
                  </a:lnTo>
                  <a:lnTo>
                    <a:pt x="22668" y="15498"/>
                  </a:lnTo>
                  <a:lnTo>
                    <a:pt x="22073" y="14308"/>
                  </a:lnTo>
                  <a:lnTo>
                    <a:pt x="21447" y="13119"/>
                  </a:lnTo>
                  <a:lnTo>
                    <a:pt x="20758" y="11929"/>
                  </a:lnTo>
                  <a:lnTo>
                    <a:pt x="20038" y="10770"/>
                  </a:lnTo>
                  <a:lnTo>
                    <a:pt x="19286" y="9612"/>
                  </a:lnTo>
                  <a:lnTo>
                    <a:pt x="18504" y="8485"/>
                  </a:lnTo>
                  <a:lnTo>
                    <a:pt x="17658" y="7421"/>
                  </a:lnTo>
                  <a:lnTo>
                    <a:pt x="16782" y="6356"/>
                  </a:lnTo>
                  <a:lnTo>
                    <a:pt x="15843" y="5385"/>
                  </a:lnTo>
                  <a:lnTo>
                    <a:pt x="15373" y="4916"/>
                  </a:lnTo>
                  <a:lnTo>
                    <a:pt x="14872" y="4446"/>
                  </a:lnTo>
                  <a:lnTo>
                    <a:pt x="14371" y="4008"/>
                  </a:lnTo>
                  <a:lnTo>
                    <a:pt x="13870" y="3570"/>
                  </a:lnTo>
                  <a:lnTo>
                    <a:pt x="13338" y="3194"/>
                  </a:lnTo>
                  <a:lnTo>
                    <a:pt x="12806" y="2787"/>
                  </a:lnTo>
                  <a:lnTo>
                    <a:pt x="12273" y="2443"/>
                  </a:lnTo>
                  <a:lnTo>
                    <a:pt x="11710" y="2098"/>
                  </a:lnTo>
                  <a:lnTo>
                    <a:pt x="11146" y="1754"/>
                  </a:lnTo>
                  <a:lnTo>
                    <a:pt x="10583" y="1472"/>
                  </a:lnTo>
                  <a:lnTo>
                    <a:pt x="9988" y="1190"/>
                  </a:lnTo>
                  <a:lnTo>
                    <a:pt x="9393" y="940"/>
                  </a:lnTo>
                  <a:lnTo>
                    <a:pt x="8798" y="721"/>
                  </a:lnTo>
                  <a:lnTo>
                    <a:pt x="8172" y="533"/>
                  </a:lnTo>
                  <a:lnTo>
                    <a:pt x="7546" y="376"/>
                  </a:lnTo>
                  <a:lnTo>
                    <a:pt x="6888" y="251"/>
                  </a:lnTo>
                  <a:lnTo>
                    <a:pt x="6231" y="126"/>
                  </a:lnTo>
                  <a:lnTo>
                    <a:pt x="5573" y="63"/>
                  </a:lnTo>
                  <a:lnTo>
                    <a:pt x="4885" y="0"/>
                  </a:lnTo>
                  <a:close/>
                </a:path>
              </a:pathLst>
            </a:custGeom>
            <a:solidFill>
              <a:srgbClr val="DD9280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7" name="Google Shape;738;p138">
              <a:extLst>
                <a:ext uri="{FF2B5EF4-FFF2-40B4-BE49-F238E27FC236}">
                  <a16:creationId xmlns:a16="http://schemas.microsoft.com/office/drawing/2014/main" id="{FAC16400-2CA5-1204-F3BF-6F08BEA11657}"/>
                </a:ext>
              </a:extLst>
            </p:cNvPr>
            <p:cNvSpPr/>
            <p:nvPr/>
          </p:nvSpPr>
          <p:spPr>
            <a:xfrm>
              <a:off x="760175" y="3489900"/>
              <a:ext cx="1968525" cy="1406550"/>
            </a:xfrm>
            <a:custGeom>
              <a:avLst/>
              <a:gdLst/>
              <a:ahLst/>
              <a:cxnLst/>
              <a:rect l="l" t="t" r="r" b="b"/>
              <a:pathLst>
                <a:path w="78741" h="56262" fill="none" extrusionOk="0">
                  <a:moveTo>
                    <a:pt x="54258" y="27646"/>
                  </a:moveTo>
                  <a:lnTo>
                    <a:pt x="54258" y="27646"/>
                  </a:lnTo>
                  <a:lnTo>
                    <a:pt x="51628" y="27301"/>
                  </a:lnTo>
                  <a:lnTo>
                    <a:pt x="48309" y="26894"/>
                  </a:lnTo>
                  <a:lnTo>
                    <a:pt x="44521" y="26518"/>
                  </a:lnTo>
                  <a:lnTo>
                    <a:pt x="42548" y="26331"/>
                  </a:lnTo>
                  <a:lnTo>
                    <a:pt x="40545" y="26143"/>
                  </a:lnTo>
                  <a:lnTo>
                    <a:pt x="38510" y="26018"/>
                  </a:lnTo>
                  <a:lnTo>
                    <a:pt x="36506" y="25892"/>
                  </a:lnTo>
                  <a:lnTo>
                    <a:pt x="34565" y="25830"/>
                  </a:lnTo>
                  <a:lnTo>
                    <a:pt x="32718" y="25798"/>
                  </a:lnTo>
                  <a:lnTo>
                    <a:pt x="30964" y="25830"/>
                  </a:lnTo>
                  <a:lnTo>
                    <a:pt x="29336" y="25892"/>
                  </a:lnTo>
                  <a:lnTo>
                    <a:pt x="28585" y="25955"/>
                  </a:lnTo>
                  <a:lnTo>
                    <a:pt x="27865" y="26018"/>
                  </a:lnTo>
                  <a:lnTo>
                    <a:pt x="27207" y="26111"/>
                  </a:lnTo>
                  <a:lnTo>
                    <a:pt x="26613" y="26237"/>
                  </a:lnTo>
                  <a:lnTo>
                    <a:pt x="26613" y="26237"/>
                  </a:lnTo>
                  <a:lnTo>
                    <a:pt x="26237" y="24828"/>
                  </a:lnTo>
                  <a:lnTo>
                    <a:pt x="25705" y="23106"/>
                  </a:lnTo>
                  <a:lnTo>
                    <a:pt x="25392" y="22167"/>
                  </a:lnTo>
                  <a:lnTo>
                    <a:pt x="25047" y="21133"/>
                  </a:lnTo>
                  <a:lnTo>
                    <a:pt x="24640" y="20069"/>
                  </a:lnTo>
                  <a:lnTo>
                    <a:pt x="24202" y="18973"/>
                  </a:lnTo>
                  <a:lnTo>
                    <a:pt x="23732" y="17846"/>
                  </a:lnTo>
                  <a:lnTo>
                    <a:pt x="23200" y="16688"/>
                  </a:lnTo>
                  <a:lnTo>
                    <a:pt x="22668" y="15498"/>
                  </a:lnTo>
                  <a:lnTo>
                    <a:pt x="22073" y="14308"/>
                  </a:lnTo>
                  <a:lnTo>
                    <a:pt x="21447" y="13119"/>
                  </a:lnTo>
                  <a:lnTo>
                    <a:pt x="20758" y="11929"/>
                  </a:lnTo>
                  <a:lnTo>
                    <a:pt x="20038" y="10770"/>
                  </a:lnTo>
                  <a:lnTo>
                    <a:pt x="19286" y="9612"/>
                  </a:lnTo>
                  <a:lnTo>
                    <a:pt x="18504" y="8485"/>
                  </a:lnTo>
                  <a:lnTo>
                    <a:pt x="17658" y="7421"/>
                  </a:lnTo>
                  <a:lnTo>
                    <a:pt x="16782" y="6356"/>
                  </a:lnTo>
                  <a:lnTo>
                    <a:pt x="15843" y="5385"/>
                  </a:lnTo>
                  <a:lnTo>
                    <a:pt x="15373" y="4916"/>
                  </a:lnTo>
                  <a:lnTo>
                    <a:pt x="14872" y="4446"/>
                  </a:lnTo>
                  <a:lnTo>
                    <a:pt x="14371" y="4008"/>
                  </a:lnTo>
                  <a:lnTo>
                    <a:pt x="13870" y="3570"/>
                  </a:lnTo>
                  <a:lnTo>
                    <a:pt x="13338" y="3194"/>
                  </a:lnTo>
                  <a:lnTo>
                    <a:pt x="12806" y="2787"/>
                  </a:lnTo>
                  <a:lnTo>
                    <a:pt x="12273" y="2443"/>
                  </a:lnTo>
                  <a:lnTo>
                    <a:pt x="11710" y="2098"/>
                  </a:lnTo>
                  <a:lnTo>
                    <a:pt x="11146" y="1754"/>
                  </a:lnTo>
                  <a:lnTo>
                    <a:pt x="10583" y="1472"/>
                  </a:lnTo>
                  <a:lnTo>
                    <a:pt x="9988" y="1190"/>
                  </a:lnTo>
                  <a:lnTo>
                    <a:pt x="9393" y="940"/>
                  </a:lnTo>
                  <a:lnTo>
                    <a:pt x="8798" y="721"/>
                  </a:lnTo>
                  <a:lnTo>
                    <a:pt x="8172" y="533"/>
                  </a:lnTo>
                  <a:lnTo>
                    <a:pt x="7546" y="376"/>
                  </a:lnTo>
                  <a:lnTo>
                    <a:pt x="6888" y="251"/>
                  </a:lnTo>
                  <a:lnTo>
                    <a:pt x="6231" y="126"/>
                  </a:lnTo>
                  <a:lnTo>
                    <a:pt x="5573" y="63"/>
                  </a:lnTo>
                  <a:lnTo>
                    <a:pt x="4885" y="0"/>
                  </a:lnTo>
                  <a:lnTo>
                    <a:pt x="4196" y="0"/>
                  </a:lnTo>
                  <a:lnTo>
                    <a:pt x="3507" y="32"/>
                  </a:lnTo>
                  <a:lnTo>
                    <a:pt x="2787" y="94"/>
                  </a:lnTo>
                  <a:lnTo>
                    <a:pt x="2067" y="188"/>
                  </a:lnTo>
                  <a:lnTo>
                    <a:pt x="1347" y="314"/>
                  </a:lnTo>
                  <a:lnTo>
                    <a:pt x="1347" y="314"/>
                  </a:lnTo>
                  <a:lnTo>
                    <a:pt x="1159" y="376"/>
                  </a:lnTo>
                  <a:lnTo>
                    <a:pt x="971" y="439"/>
                  </a:lnTo>
                  <a:lnTo>
                    <a:pt x="815" y="533"/>
                  </a:lnTo>
                  <a:lnTo>
                    <a:pt x="658" y="627"/>
                  </a:lnTo>
                  <a:lnTo>
                    <a:pt x="533" y="752"/>
                  </a:lnTo>
                  <a:lnTo>
                    <a:pt x="376" y="877"/>
                  </a:lnTo>
                  <a:lnTo>
                    <a:pt x="282" y="1034"/>
                  </a:lnTo>
                  <a:lnTo>
                    <a:pt x="188" y="1190"/>
                  </a:lnTo>
                  <a:lnTo>
                    <a:pt x="94" y="1347"/>
                  </a:lnTo>
                  <a:lnTo>
                    <a:pt x="32" y="1503"/>
                  </a:lnTo>
                  <a:lnTo>
                    <a:pt x="1" y="1691"/>
                  </a:lnTo>
                  <a:lnTo>
                    <a:pt x="1" y="1848"/>
                  </a:lnTo>
                  <a:lnTo>
                    <a:pt x="1" y="2036"/>
                  </a:lnTo>
                  <a:lnTo>
                    <a:pt x="32" y="2192"/>
                  </a:lnTo>
                  <a:lnTo>
                    <a:pt x="126" y="2380"/>
                  </a:lnTo>
                  <a:lnTo>
                    <a:pt x="220" y="2536"/>
                  </a:lnTo>
                  <a:lnTo>
                    <a:pt x="220" y="2536"/>
                  </a:lnTo>
                  <a:lnTo>
                    <a:pt x="909" y="3570"/>
                  </a:lnTo>
                  <a:lnTo>
                    <a:pt x="1597" y="4665"/>
                  </a:lnTo>
                  <a:lnTo>
                    <a:pt x="2286" y="5792"/>
                  </a:lnTo>
                  <a:lnTo>
                    <a:pt x="2944" y="6951"/>
                  </a:lnTo>
                  <a:lnTo>
                    <a:pt x="3601" y="8109"/>
                  </a:lnTo>
                  <a:lnTo>
                    <a:pt x="4227" y="9330"/>
                  </a:lnTo>
                  <a:lnTo>
                    <a:pt x="4822" y="10551"/>
                  </a:lnTo>
                  <a:lnTo>
                    <a:pt x="5417" y="11772"/>
                  </a:lnTo>
                  <a:lnTo>
                    <a:pt x="6012" y="13025"/>
                  </a:lnTo>
                  <a:lnTo>
                    <a:pt x="6544" y="14277"/>
                  </a:lnTo>
                  <a:lnTo>
                    <a:pt x="7108" y="15529"/>
                  </a:lnTo>
                  <a:lnTo>
                    <a:pt x="7608" y="16813"/>
                  </a:lnTo>
                  <a:lnTo>
                    <a:pt x="8579" y="19318"/>
                  </a:lnTo>
                  <a:lnTo>
                    <a:pt x="9456" y="21760"/>
                  </a:lnTo>
                  <a:lnTo>
                    <a:pt x="10207" y="24139"/>
                  </a:lnTo>
                  <a:lnTo>
                    <a:pt x="10896" y="26425"/>
                  </a:lnTo>
                  <a:lnTo>
                    <a:pt x="11459" y="28554"/>
                  </a:lnTo>
                  <a:lnTo>
                    <a:pt x="11898" y="30526"/>
                  </a:lnTo>
                  <a:lnTo>
                    <a:pt x="12086" y="31434"/>
                  </a:lnTo>
                  <a:lnTo>
                    <a:pt x="12211" y="32279"/>
                  </a:lnTo>
                  <a:lnTo>
                    <a:pt x="12336" y="33062"/>
                  </a:lnTo>
                  <a:lnTo>
                    <a:pt x="12430" y="33813"/>
                  </a:lnTo>
                  <a:lnTo>
                    <a:pt x="12461" y="34471"/>
                  </a:lnTo>
                  <a:lnTo>
                    <a:pt x="12493" y="35066"/>
                  </a:lnTo>
                  <a:lnTo>
                    <a:pt x="12461" y="35598"/>
                  </a:lnTo>
                  <a:lnTo>
                    <a:pt x="12399" y="36036"/>
                  </a:lnTo>
                  <a:lnTo>
                    <a:pt x="12399" y="36036"/>
                  </a:lnTo>
                  <a:lnTo>
                    <a:pt x="13651" y="36412"/>
                  </a:lnTo>
                  <a:lnTo>
                    <a:pt x="14935" y="36819"/>
                  </a:lnTo>
                  <a:lnTo>
                    <a:pt x="16281" y="37320"/>
                  </a:lnTo>
                  <a:lnTo>
                    <a:pt x="17690" y="37883"/>
                  </a:lnTo>
                  <a:lnTo>
                    <a:pt x="19099" y="38510"/>
                  </a:lnTo>
                  <a:lnTo>
                    <a:pt x="20570" y="39167"/>
                  </a:lnTo>
                  <a:lnTo>
                    <a:pt x="22042" y="39856"/>
                  </a:lnTo>
                  <a:lnTo>
                    <a:pt x="23544" y="40607"/>
                  </a:lnTo>
                  <a:lnTo>
                    <a:pt x="25047" y="41421"/>
                  </a:lnTo>
                  <a:lnTo>
                    <a:pt x="26581" y="42235"/>
                  </a:lnTo>
                  <a:lnTo>
                    <a:pt x="28084" y="43049"/>
                  </a:lnTo>
                  <a:lnTo>
                    <a:pt x="29587" y="43926"/>
                  </a:lnTo>
                  <a:lnTo>
                    <a:pt x="32592" y="45648"/>
                  </a:lnTo>
                  <a:lnTo>
                    <a:pt x="35473" y="47401"/>
                  </a:lnTo>
                  <a:lnTo>
                    <a:pt x="38197" y="49123"/>
                  </a:lnTo>
                  <a:lnTo>
                    <a:pt x="40701" y="50751"/>
                  </a:lnTo>
                  <a:lnTo>
                    <a:pt x="42987" y="52254"/>
                  </a:lnTo>
                  <a:lnTo>
                    <a:pt x="44959" y="53569"/>
                  </a:lnTo>
                  <a:lnTo>
                    <a:pt x="47808" y="55510"/>
                  </a:lnTo>
                  <a:lnTo>
                    <a:pt x="48841" y="56261"/>
                  </a:lnTo>
                  <a:lnTo>
                    <a:pt x="78741" y="36600"/>
                  </a:lnTo>
                  <a:lnTo>
                    <a:pt x="54258" y="2764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" name="Google Shape;739;p138">
              <a:extLst>
                <a:ext uri="{FF2B5EF4-FFF2-40B4-BE49-F238E27FC236}">
                  <a16:creationId xmlns:a16="http://schemas.microsoft.com/office/drawing/2014/main" id="{150201BD-E8A9-516C-304D-1CD6044085D4}"/>
                </a:ext>
              </a:extLst>
            </p:cNvPr>
            <p:cNvSpPr/>
            <p:nvPr/>
          </p:nvSpPr>
          <p:spPr>
            <a:xfrm>
              <a:off x="282725" y="3702000"/>
              <a:ext cx="816400" cy="878225"/>
            </a:xfrm>
            <a:custGeom>
              <a:avLst/>
              <a:gdLst/>
              <a:ahLst/>
              <a:cxnLst/>
              <a:rect l="l" t="t" r="r" b="b"/>
              <a:pathLst>
                <a:path w="32656" h="35129" extrusionOk="0">
                  <a:moveTo>
                    <a:pt x="4415" y="1"/>
                  </a:moveTo>
                  <a:lnTo>
                    <a:pt x="3977" y="32"/>
                  </a:lnTo>
                  <a:lnTo>
                    <a:pt x="3570" y="64"/>
                  </a:lnTo>
                  <a:lnTo>
                    <a:pt x="3163" y="126"/>
                  </a:lnTo>
                  <a:lnTo>
                    <a:pt x="2756" y="220"/>
                  </a:lnTo>
                  <a:lnTo>
                    <a:pt x="2411" y="314"/>
                  </a:lnTo>
                  <a:lnTo>
                    <a:pt x="2067" y="408"/>
                  </a:lnTo>
                  <a:lnTo>
                    <a:pt x="1723" y="533"/>
                  </a:lnTo>
                  <a:lnTo>
                    <a:pt x="1441" y="690"/>
                  </a:lnTo>
                  <a:lnTo>
                    <a:pt x="1159" y="846"/>
                  </a:lnTo>
                  <a:lnTo>
                    <a:pt x="909" y="1034"/>
                  </a:lnTo>
                  <a:lnTo>
                    <a:pt x="658" y="1222"/>
                  </a:lnTo>
                  <a:lnTo>
                    <a:pt x="439" y="1441"/>
                  </a:lnTo>
                  <a:lnTo>
                    <a:pt x="282" y="1660"/>
                  </a:lnTo>
                  <a:lnTo>
                    <a:pt x="126" y="1911"/>
                  </a:lnTo>
                  <a:lnTo>
                    <a:pt x="1" y="2193"/>
                  </a:lnTo>
                  <a:lnTo>
                    <a:pt x="439" y="2662"/>
                  </a:lnTo>
                  <a:lnTo>
                    <a:pt x="846" y="3194"/>
                  </a:lnTo>
                  <a:lnTo>
                    <a:pt x="1723" y="4322"/>
                  </a:lnTo>
                  <a:lnTo>
                    <a:pt x="2537" y="5511"/>
                  </a:lnTo>
                  <a:lnTo>
                    <a:pt x="3319" y="6764"/>
                  </a:lnTo>
                  <a:lnTo>
                    <a:pt x="4102" y="8079"/>
                  </a:lnTo>
                  <a:lnTo>
                    <a:pt x="4822" y="9456"/>
                  </a:lnTo>
                  <a:lnTo>
                    <a:pt x="5511" y="10834"/>
                  </a:lnTo>
                  <a:lnTo>
                    <a:pt x="6168" y="12242"/>
                  </a:lnTo>
                  <a:lnTo>
                    <a:pt x="6763" y="13651"/>
                  </a:lnTo>
                  <a:lnTo>
                    <a:pt x="7327" y="15060"/>
                  </a:lnTo>
                  <a:lnTo>
                    <a:pt x="7828" y="16406"/>
                  </a:lnTo>
                  <a:lnTo>
                    <a:pt x="8297" y="17753"/>
                  </a:lnTo>
                  <a:lnTo>
                    <a:pt x="8673" y="19036"/>
                  </a:lnTo>
                  <a:lnTo>
                    <a:pt x="9017" y="20257"/>
                  </a:lnTo>
                  <a:lnTo>
                    <a:pt x="9299" y="21384"/>
                  </a:lnTo>
                  <a:lnTo>
                    <a:pt x="9487" y="22449"/>
                  </a:lnTo>
                  <a:lnTo>
                    <a:pt x="10739" y="23545"/>
                  </a:lnTo>
                  <a:lnTo>
                    <a:pt x="12148" y="24734"/>
                  </a:lnTo>
                  <a:lnTo>
                    <a:pt x="13995" y="26237"/>
                  </a:lnTo>
                  <a:lnTo>
                    <a:pt x="16093" y="27865"/>
                  </a:lnTo>
                  <a:lnTo>
                    <a:pt x="17251" y="28742"/>
                  </a:lnTo>
                  <a:lnTo>
                    <a:pt x="18441" y="29587"/>
                  </a:lnTo>
                  <a:lnTo>
                    <a:pt x="19631" y="30433"/>
                  </a:lnTo>
                  <a:lnTo>
                    <a:pt x="20852" y="31278"/>
                  </a:lnTo>
                  <a:lnTo>
                    <a:pt x="22073" y="32029"/>
                  </a:lnTo>
                  <a:lnTo>
                    <a:pt x="23294" y="32749"/>
                  </a:lnTo>
                  <a:lnTo>
                    <a:pt x="24484" y="33407"/>
                  </a:lnTo>
                  <a:lnTo>
                    <a:pt x="25642" y="33970"/>
                  </a:lnTo>
                  <a:lnTo>
                    <a:pt x="26206" y="34221"/>
                  </a:lnTo>
                  <a:lnTo>
                    <a:pt x="26769" y="34440"/>
                  </a:lnTo>
                  <a:lnTo>
                    <a:pt x="27301" y="34659"/>
                  </a:lnTo>
                  <a:lnTo>
                    <a:pt x="27802" y="34816"/>
                  </a:lnTo>
                  <a:lnTo>
                    <a:pt x="28303" y="34941"/>
                  </a:lnTo>
                  <a:lnTo>
                    <a:pt x="28804" y="35035"/>
                  </a:lnTo>
                  <a:lnTo>
                    <a:pt x="29242" y="35097"/>
                  </a:lnTo>
                  <a:lnTo>
                    <a:pt x="29681" y="35129"/>
                  </a:lnTo>
                  <a:lnTo>
                    <a:pt x="30119" y="35129"/>
                  </a:lnTo>
                  <a:lnTo>
                    <a:pt x="30495" y="35066"/>
                  </a:lnTo>
                  <a:lnTo>
                    <a:pt x="30870" y="34972"/>
                  </a:lnTo>
                  <a:lnTo>
                    <a:pt x="31184" y="34847"/>
                  </a:lnTo>
                  <a:lnTo>
                    <a:pt x="31497" y="34659"/>
                  </a:lnTo>
                  <a:lnTo>
                    <a:pt x="31778" y="34440"/>
                  </a:lnTo>
                  <a:lnTo>
                    <a:pt x="31998" y="34158"/>
                  </a:lnTo>
                  <a:lnTo>
                    <a:pt x="32217" y="33814"/>
                  </a:lnTo>
                  <a:lnTo>
                    <a:pt x="32373" y="33438"/>
                  </a:lnTo>
                  <a:lnTo>
                    <a:pt x="32530" y="33000"/>
                  </a:lnTo>
                  <a:lnTo>
                    <a:pt x="32624" y="32499"/>
                  </a:lnTo>
                  <a:lnTo>
                    <a:pt x="32655" y="31935"/>
                  </a:lnTo>
                  <a:lnTo>
                    <a:pt x="32655" y="31340"/>
                  </a:lnTo>
                  <a:lnTo>
                    <a:pt x="32624" y="30652"/>
                  </a:lnTo>
                  <a:lnTo>
                    <a:pt x="32561" y="29932"/>
                  </a:lnTo>
                  <a:lnTo>
                    <a:pt x="32436" y="29118"/>
                  </a:lnTo>
                  <a:lnTo>
                    <a:pt x="32248" y="28272"/>
                  </a:lnTo>
                  <a:lnTo>
                    <a:pt x="32029" y="27333"/>
                  </a:lnTo>
                  <a:lnTo>
                    <a:pt x="31747" y="26300"/>
                  </a:lnTo>
                  <a:lnTo>
                    <a:pt x="31434" y="25235"/>
                  </a:lnTo>
                  <a:lnTo>
                    <a:pt x="31058" y="24140"/>
                  </a:lnTo>
                  <a:lnTo>
                    <a:pt x="30683" y="23044"/>
                  </a:lnTo>
                  <a:lnTo>
                    <a:pt x="30276" y="22011"/>
                  </a:lnTo>
                  <a:lnTo>
                    <a:pt x="29869" y="20977"/>
                  </a:lnTo>
                  <a:lnTo>
                    <a:pt x="29430" y="20007"/>
                  </a:lnTo>
                  <a:lnTo>
                    <a:pt x="28961" y="19036"/>
                  </a:lnTo>
                  <a:lnTo>
                    <a:pt x="28491" y="18097"/>
                  </a:lnTo>
                  <a:lnTo>
                    <a:pt x="28021" y="17189"/>
                  </a:lnTo>
                  <a:lnTo>
                    <a:pt x="27520" y="16281"/>
                  </a:lnTo>
                  <a:lnTo>
                    <a:pt x="26988" y="15436"/>
                  </a:lnTo>
                  <a:lnTo>
                    <a:pt x="26456" y="14591"/>
                  </a:lnTo>
                  <a:lnTo>
                    <a:pt x="25924" y="13777"/>
                  </a:lnTo>
                  <a:lnTo>
                    <a:pt x="25392" y="12994"/>
                  </a:lnTo>
                  <a:lnTo>
                    <a:pt x="24828" y="12242"/>
                  </a:lnTo>
                  <a:lnTo>
                    <a:pt x="24264" y="11491"/>
                  </a:lnTo>
                  <a:lnTo>
                    <a:pt x="23670" y="10771"/>
                  </a:lnTo>
                  <a:lnTo>
                    <a:pt x="23075" y="10082"/>
                  </a:lnTo>
                  <a:lnTo>
                    <a:pt x="22480" y="9425"/>
                  </a:lnTo>
                  <a:lnTo>
                    <a:pt x="21885" y="8799"/>
                  </a:lnTo>
                  <a:lnTo>
                    <a:pt x="21290" y="8172"/>
                  </a:lnTo>
                  <a:lnTo>
                    <a:pt x="20664" y="7578"/>
                  </a:lnTo>
                  <a:lnTo>
                    <a:pt x="20038" y="7014"/>
                  </a:lnTo>
                  <a:lnTo>
                    <a:pt x="19443" y="6482"/>
                  </a:lnTo>
                  <a:lnTo>
                    <a:pt x="18817" y="5950"/>
                  </a:lnTo>
                  <a:lnTo>
                    <a:pt x="18191" y="5480"/>
                  </a:lnTo>
                  <a:lnTo>
                    <a:pt x="17564" y="4979"/>
                  </a:lnTo>
                  <a:lnTo>
                    <a:pt x="16281" y="4102"/>
                  </a:lnTo>
                  <a:lnTo>
                    <a:pt x="15029" y="3320"/>
                  </a:lnTo>
                  <a:lnTo>
                    <a:pt x="13807" y="2631"/>
                  </a:lnTo>
                  <a:lnTo>
                    <a:pt x="12555" y="2005"/>
                  </a:lnTo>
                  <a:lnTo>
                    <a:pt x="11365" y="1472"/>
                  </a:lnTo>
                  <a:lnTo>
                    <a:pt x="10176" y="1034"/>
                  </a:lnTo>
                  <a:lnTo>
                    <a:pt x="9017" y="658"/>
                  </a:lnTo>
                  <a:lnTo>
                    <a:pt x="7922" y="377"/>
                  </a:lnTo>
                  <a:lnTo>
                    <a:pt x="6857" y="189"/>
                  </a:lnTo>
                  <a:lnTo>
                    <a:pt x="5824" y="64"/>
                  </a:lnTo>
                  <a:lnTo>
                    <a:pt x="4885" y="1"/>
                  </a:lnTo>
                  <a:close/>
                </a:path>
              </a:pathLst>
            </a:custGeom>
            <a:solidFill>
              <a:srgbClr val="E89F89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9" name="Google Shape;740;p138">
              <a:extLst>
                <a:ext uri="{FF2B5EF4-FFF2-40B4-BE49-F238E27FC236}">
                  <a16:creationId xmlns:a16="http://schemas.microsoft.com/office/drawing/2014/main" id="{9DB8AD62-857E-EABB-C018-A727D08B2C86}"/>
                </a:ext>
              </a:extLst>
            </p:cNvPr>
            <p:cNvSpPr/>
            <p:nvPr/>
          </p:nvSpPr>
          <p:spPr>
            <a:xfrm>
              <a:off x="1786300" y="744950"/>
              <a:ext cx="523650" cy="813250"/>
            </a:xfrm>
            <a:custGeom>
              <a:avLst/>
              <a:gdLst/>
              <a:ahLst/>
              <a:cxnLst/>
              <a:rect l="l" t="t" r="r" b="b"/>
              <a:pathLst>
                <a:path w="20946" h="32530" extrusionOk="0">
                  <a:moveTo>
                    <a:pt x="126" y="1"/>
                  </a:moveTo>
                  <a:lnTo>
                    <a:pt x="32" y="32"/>
                  </a:lnTo>
                  <a:lnTo>
                    <a:pt x="1" y="95"/>
                  </a:lnTo>
                  <a:lnTo>
                    <a:pt x="32" y="220"/>
                  </a:lnTo>
                  <a:lnTo>
                    <a:pt x="157" y="345"/>
                  </a:lnTo>
                  <a:lnTo>
                    <a:pt x="314" y="533"/>
                  </a:lnTo>
                  <a:lnTo>
                    <a:pt x="877" y="1003"/>
                  </a:lnTo>
                  <a:lnTo>
                    <a:pt x="2724" y="2412"/>
                  </a:lnTo>
                  <a:lnTo>
                    <a:pt x="5166" y="4259"/>
                  </a:lnTo>
                  <a:lnTo>
                    <a:pt x="7953" y="6419"/>
                  </a:lnTo>
                  <a:lnTo>
                    <a:pt x="9393" y="7577"/>
                  </a:lnTo>
                  <a:lnTo>
                    <a:pt x="10802" y="8736"/>
                  </a:lnTo>
                  <a:lnTo>
                    <a:pt x="12180" y="9925"/>
                  </a:lnTo>
                  <a:lnTo>
                    <a:pt x="13463" y="11053"/>
                  </a:lnTo>
                  <a:lnTo>
                    <a:pt x="14653" y="12180"/>
                  </a:lnTo>
                  <a:lnTo>
                    <a:pt x="15185" y="12712"/>
                  </a:lnTo>
                  <a:lnTo>
                    <a:pt x="15686" y="13244"/>
                  </a:lnTo>
                  <a:lnTo>
                    <a:pt x="16124" y="13745"/>
                  </a:lnTo>
                  <a:lnTo>
                    <a:pt x="16500" y="14246"/>
                  </a:lnTo>
                  <a:lnTo>
                    <a:pt x="16844" y="14684"/>
                  </a:lnTo>
                  <a:lnTo>
                    <a:pt x="17126" y="15123"/>
                  </a:lnTo>
                  <a:lnTo>
                    <a:pt x="17345" y="15530"/>
                  </a:lnTo>
                  <a:lnTo>
                    <a:pt x="17502" y="15905"/>
                  </a:lnTo>
                  <a:lnTo>
                    <a:pt x="17596" y="16250"/>
                  </a:lnTo>
                  <a:lnTo>
                    <a:pt x="17596" y="16438"/>
                  </a:lnTo>
                  <a:lnTo>
                    <a:pt x="17596" y="16563"/>
                  </a:lnTo>
                  <a:lnTo>
                    <a:pt x="17533" y="17408"/>
                  </a:lnTo>
                  <a:lnTo>
                    <a:pt x="17471" y="18410"/>
                  </a:lnTo>
                  <a:lnTo>
                    <a:pt x="17377" y="20758"/>
                  </a:lnTo>
                  <a:lnTo>
                    <a:pt x="17314" y="23388"/>
                  </a:lnTo>
                  <a:lnTo>
                    <a:pt x="17314" y="26049"/>
                  </a:lnTo>
                  <a:lnTo>
                    <a:pt x="17314" y="30589"/>
                  </a:lnTo>
                  <a:lnTo>
                    <a:pt x="17345" y="32530"/>
                  </a:lnTo>
                  <a:lnTo>
                    <a:pt x="17502" y="32499"/>
                  </a:lnTo>
                  <a:lnTo>
                    <a:pt x="17972" y="32436"/>
                  </a:lnTo>
                  <a:lnTo>
                    <a:pt x="18598" y="32248"/>
                  </a:lnTo>
                  <a:lnTo>
                    <a:pt x="18942" y="32154"/>
                  </a:lnTo>
                  <a:lnTo>
                    <a:pt x="19286" y="31998"/>
                  </a:lnTo>
                  <a:lnTo>
                    <a:pt x="19662" y="31841"/>
                  </a:lnTo>
                  <a:lnTo>
                    <a:pt x="19975" y="31622"/>
                  </a:lnTo>
                  <a:lnTo>
                    <a:pt x="20288" y="31403"/>
                  </a:lnTo>
                  <a:lnTo>
                    <a:pt x="20539" y="31121"/>
                  </a:lnTo>
                  <a:lnTo>
                    <a:pt x="20664" y="30965"/>
                  </a:lnTo>
                  <a:lnTo>
                    <a:pt x="20758" y="30808"/>
                  </a:lnTo>
                  <a:lnTo>
                    <a:pt x="20852" y="30651"/>
                  </a:lnTo>
                  <a:lnTo>
                    <a:pt x="20883" y="30464"/>
                  </a:lnTo>
                  <a:lnTo>
                    <a:pt x="20946" y="30276"/>
                  </a:lnTo>
                  <a:lnTo>
                    <a:pt x="20946" y="30057"/>
                  </a:lnTo>
                  <a:lnTo>
                    <a:pt x="20946" y="29837"/>
                  </a:lnTo>
                  <a:lnTo>
                    <a:pt x="20915" y="29618"/>
                  </a:lnTo>
                  <a:lnTo>
                    <a:pt x="20539" y="27521"/>
                  </a:lnTo>
                  <a:lnTo>
                    <a:pt x="20226" y="25736"/>
                  </a:lnTo>
                  <a:lnTo>
                    <a:pt x="19787" y="22731"/>
                  </a:lnTo>
                  <a:lnTo>
                    <a:pt x="19600" y="21447"/>
                  </a:lnTo>
                  <a:lnTo>
                    <a:pt x="19380" y="20163"/>
                  </a:lnTo>
                  <a:lnTo>
                    <a:pt x="19130" y="18848"/>
                  </a:lnTo>
                  <a:lnTo>
                    <a:pt x="18786" y="17471"/>
                  </a:lnTo>
                  <a:lnTo>
                    <a:pt x="18410" y="15874"/>
                  </a:lnTo>
                  <a:lnTo>
                    <a:pt x="18034" y="14183"/>
                  </a:lnTo>
                  <a:lnTo>
                    <a:pt x="17815" y="13307"/>
                  </a:lnTo>
                  <a:lnTo>
                    <a:pt x="17565" y="12399"/>
                  </a:lnTo>
                  <a:lnTo>
                    <a:pt x="17283" y="11522"/>
                  </a:lnTo>
                  <a:lnTo>
                    <a:pt x="16938" y="10677"/>
                  </a:lnTo>
                  <a:lnTo>
                    <a:pt x="16563" y="9800"/>
                  </a:lnTo>
                  <a:lnTo>
                    <a:pt x="16156" y="8986"/>
                  </a:lnTo>
                  <a:lnTo>
                    <a:pt x="15905" y="8579"/>
                  </a:lnTo>
                  <a:lnTo>
                    <a:pt x="15655" y="8172"/>
                  </a:lnTo>
                  <a:lnTo>
                    <a:pt x="15373" y="7797"/>
                  </a:lnTo>
                  <a:lnTo>
                    <a:pt x="15091" y="7421"/>
                  </a:lnTo>
                  <a:lnTo>
                    <a:pt x="14778" y="7076"/>
                  </a:lnTo>
                  <a:lnTo>
                    <a:pt x="14434" y="6732"/>
                  </a:lnTo>
                  <a:lnTo>
                    <a:pt x="14089" y="6388"/>
                  </a:lnTo>
                  <a:lnTo>
                    <a:pt x="13714" y="6075"/>
                  </a:lnTo>
                  <a:lnTo>
                    <a:pt x="13307" y="5762"/>
                  </a:lnTo>
                  <a:lnTo>
                    <a:pt x="12868" y="5480"/>
                  </a:lnTo>
                  <a:lnTo>
                    <a:pt x="12430" y="5198"/>
                  </a:lnTo>
                  <a:lnTo>
                    <a:pt x="11929" y="4947"/>
                  </a:lnTo>
                  <a:lnTo>
                    <a:pt x="9800" y="3914"/>
                  </a:lnTo>
                  <a:lnTo>
                    <a:pt x="7452" y="2819"/>
                  </a:lnTo>
                  <a:lnTo>
                    <a:pt x="5135" y="1754"/>
                  </a:lnTo>
                  <a:lnTo>
                    <a:pt x="3006" y="877"/>
                  </a:lnTo>
                  <a:lnTo>
                    <a:pt x="2098" y="533"/>
                  </a:lnTo>
                  <a:lnTo>
                    <a:pt x="1316" y="251"/>
                  </a:lnTo>
                  <a:lnTo>
                    <a:pt x="689" y="63"/>
                  </a:lnTo>
                  <a:lnTo>
                    <a:pt x="439" y="1"/>
                  </a:lnTo>
                  <a:close/>
                </a:path>
              </a:pathLst>
            </a:custGeom>
            <a:solidFill>
              <a:srgbClr val="6DD2C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0" name="Google Shape;741;p138">
              <a:extLst>
                <a:ext uri="{FF2B5EF4-FFF2-40B4-BE49-F238E27FC236}">
                  <a16:creationId xmlns:a16="http://schemas.microsoft.com/office/drawing/2014/main" id="{DF426B52-73C6-697A-4FCF-53404AF3B3B9}"/>
                </a:ext>
              </a:extLst>
            </p:cNvPr>
            <p:cNvSpPr/>
            <p:nvPr/>
          </p:nvSpPr>
          <p:spPr>
            <a:xfrm>
              <a:off x="1820750" y="1529225"/>
              <a:ext cx="371800" cy="166750"/>
            </a:xfrm>
            <a:custGeom>
              <a:avLst/>
              <a:gdLst/>
              <a:ahLst/>
              <a:cxnLst/>
              <a:rect l="l" t="t" r="r" b="b"/>
              <a:pathLst>
                <a:path w="14872" h="6670" extrusionOk="0">
                  <a:moveTo>
                    <a:pt x="0" y="1"/>
                  </a:moveTo>
                  <a:lnTo>
                    <a:pt x="470" y="846"/>
                  </a:lnTo>
                  <a:lnTo>
                    <a:pt x="752" y="1316"/>
                  </a:lnTo>
                  <a:lnTo>
                    <a:pt x="1096" y="1785"/>
                  </a:lnTo>
                  <a:lnTo>
                    <a:pt x="1503" y="2255"/>
                  </a:lnTo>
                  <a:lnTo>
                    <a:pt x="2004" y="2724"/>
                  </a:lnTo>
                  <a:lnTo>
                    <a:pt x="2599" y="3225"/>
                  </a:lnTo>
                  <a:lnTo>
                    <a:pt x="2943" y="3444"/>
                  </a:lnTo>
                  <a:lnTo>
                    <a:pt x="3319" y="3695"/>
                  </a:lnTo>
                  <a:lnTo>
                    <a:pt x="3695" y="3914"/>
                  </a:lnTo>
                  <a:lnTo>
                    <a:pt x="4133" y="4165"/>
                  </a:lnTo>
                  <a:lnTo>
                    <a:pt x="4603" y="4384"/>
                  </a:lnTo>
                  <a:lnTo>
                    <a:pt x="5135" y="4603"/>
                  </a:lnTo>
                  <a:lnTo>
                    <a:pt x="5667" y="4822"/>
                  </a:lnTo>
                  <a:lnTo>
                    <a:pt x="6262" y="5041"/>
                  </a:lnTo>
                  <a:lnTo>
                    <a:pt x="6888" y="5229"/>
                  </a:lnTo>
                  <a:lnTo>
                    <a:pt x="7577" y="5448"/>
                  </a:lnTo>
                  <a:lnTo>
                    <a:pt x="8297" y="5636"/>
                  </a:lnTo>
                  <a:lnTo>
                    <a:pt x="9080" y="5793"/>
                  </a:lnTo>
                  <a:lnTo>
                    <a:pt x="9894" y="5980"/>
                  </a:lnTo>
                  <a:lnTo>
                    <a:pt x="10770" y="6137"/>
                  </a:lnTo>
                  <a:lnTo>
                    <a:pt x="11709" y="6294"/>
                  </a:lnTo>
                  <a:lnTo>
                    <a:pt x="12711" y="6419"/>
                  </a:lnTo>
                  <a:lnTo>
                    <a:pt x="13776" y="6544"/>
                  </a:lnTo>
                  <a:lnTo>
                    <a:pt x="14872" y="6669"/>
                  </a:lnTo>
                  <a:lnTo>
                    <a:pt x="14809" y="6137"/>
                  </a:lnTo>
                  <a:lnTo>
                    <a:pt x="14277" y="5386"/>
                  </a:lnTo>
                  <a:lnTo>
                    <a:pt x="13713" y="4697"/>
                  </a:lnTo>
                  <a:lnTo>
                    <a:pt x="13118" y="4071"/>
                  </a:lnTo>
                  <a:lnTo>
                    <a:pt x="12492" y="3507"/>
                  </a:lnTo>
                  <a:lnTo>
                    <a:pt x="11835" y="2975"/>
                  </a:lnTo>
                  <a:lnTo>
                    <a:pt x="11146" y="2505"/>
                  </a:lnTo>
                  <a:lnTo>
                    <a:pt x="10457" y="2098"/>
                  </a:lnTo>
                  <a:lnTo>
                    <a:pt x="9706" y="1723"/>
                  </a:lnTo>
                  <a:lnTo>
                    <a:pt x="8954" y="1378"/>
                  </a:lnTo>
                  <a:lnTo>
                    <a:pt x="8203" y="1096"/>
                  </a:lnTo>
                  <a:lnTo>
                    <a:pt x="7420" y="877"/>
                  </a:lnTo>
                  <a:lnTo>
                    <a:pt x="6606" y="658"/>
                  </a:lnTo>
                  <a:lnTo>
                    <a:pt x="5824" y="502"/>
                  </a:lnTo>
                  <a:lnTo>
                    <a:pt x="5010" y="376"/>
                  </a:lnTo>
                  <a:lnTo>
                    <a:pt x="4164" y="282"/>
                  </a:lnTo>
                  <a:lnTo>
                    <a:pt x="3350" y="220"/>
                  </a:lnTo>
                  <a:lnTo>
                    <a:pt x="32" y="1"/>
                  </a:lnTo>
                  <a:close/>
                </a:path>
              </a:pathLst>
            </a:custGeom>
            <a:solidFill>
              <a:srgbClr val="52938F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Google Shape;742;p138">
              <a:extLst>
                <a:ext uri="{FF2B5EF4-FFF2-40B4-BE49-F238E27FC236}">
                  <a16:creationId xmlns:a16="http://schemas.microsoft.com/office/drawing/2014/main" id="{81DD76B4-B3C7-4733-FC06-BC3934F4A87E}"/>
                </a:ext>
              </a:extLst>
            </p:cNvPr>
            <p:cNvSpPr/>
            <p:nvPr/>
          </p:nvSpPr>
          <p:spPr>
            <a:xfrm>
              <a:off x="2267675" y="2315050"/>
              <a:ext cx="227000" cy="180850"/>
            </a:xfrm>
            <a:custGeom>
              <a:avLst/>
              <a:gdLst/>
              <a:ahLst/>
              <a:cxnLst/>
              <a:rect l="l" t="t" r="r" b="b"/>
              <a:pathLst>
                <a:path w="9080" h="7234" extrusionOk="0">
                  <a:moveTo>
                    <a:pt x="9048" y="1"/>
                  </a:moveTo>
                  <a:lnTo>
                    <a:pt x="6638" y="627"/>
                  </a:lnTo>
                  <a:lnTo>
                    <a:pt x="6043" y="784"/>
                  </a:lnTo>
                  <a:lnTo>
                    <a:pt x="5479" y="972"/>
                  </a:lnTo>
                  <a:lnTo>
                    <a:pt x="4916" y="1191"/>
                  </a:lnTo>
                  <a:lnTo>
                    <a:pt x="4352" y="1441"/>
                  </a:lnTo>
                  <a:lnTo>
                    <a:pt x="3820" y="1723"/>
                  </a:lnTo>
                  <a:lnTo>
                    <a:pt x="3319" y="2005"/>
                  </a:lnTo>
                  <a:lnTo>
                    <a:pt x="2849" y="2318"/>
                  </a:lnTo>
                  <a:lnTo>
                    <a:pt x="2380" y="2693"/>
                  </a:lnTo>
                  <a:lnTo>
                    <a:pt x="1973" y="3069"/>
                  </a:lnTo>
                  <a:lnTo>
                    <a:pt x="1566" y="3507"/>
                  </a:lnTo>
                  <a:lnTo>
                    <a:pt x="1221" y="3946"/>
                  </a:lnTo>
                  <a:lnTo>
                    <a:pt x="877" y="4447"/>
                  </a:lnTo>
                  <a:lnTo>
                    <a:pt x="595" y="4979"/>
                  </a:lnTo>
                  <a:lnTo>
                    <a:pt x="376" y="5542"/>
                  </a:lnTo>
                  <a:lnTo>
                    <a:pt x="157" y="6169"/>
                  </a:lnTo>
                  <a:lnTo>
                    <a:pt x="0" y="6826"/>
                  </a:lnTo>
                  <a:lnTo>
                    <a:pt x="125" y="7233"/>
                  </a:lnTo>
                  <a:lnTo>
                    <a:pt x="1660" y="6732"/>
                  </a:lnTo>
                  <a:lnTo>
                    <a:pt x="3006" y="6263"/>
                  </a:lnTo>
                  <a:lnTo>
                    <a:pt x="4164" y="5762"/>
                  </a:lnTo>
                  <a:lnTo>
                    <a:pt x="5166" y="5261"/>
                  </a:lnTo>
                  <a:lnTo>
                    <a:pt x="6011" y="4760"/>
                  </a:lnTo>
                  <a:lnTo>
                    <a:pt x="6731" y="4290"/>
                  </a:lnTo>
                  <a:lnTo>
                    <a:pt x="7295" y="3789"/>
                  </a:lnTo>
                  <a:lnTo>
                    <a:pt x="7796" y="3320"/>
                  </a:lnTo>
                  <a:lnTo>
                    <a:pt x="8172" y="2850"/>
                  </a:lnTo>
                  <a:lnTo>
                    <a:pt x="8453" y="2380"/>
                  </a:lnTo>
                  <a:lnTo>
                    <a:pt x="8641" y="1942"/>
                  </a:lnTo>
                  <a:lnTo>
                    <a:pt x="8798" y="1535"/>
                  </a:lnTo>
                  <a:lnTo>
                    <a:pt x="8923" y="1128"/>
                  </a:lnTo>
                  <a:lnTo>
                    <a:pt x="8986" y="721"/>
                  </a:lnTo>
                  <a:lnTo>
                    <a:pt x="9080" y="1"/>
                  </a:lnTo>
                  <a:close/>
                </a:path>
              </a:pathLst>
            </a:custGeom>
            <a:solidFill>
              <a:srgbClr val="6DD2C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2" name="Google Shape;743;p138">
              <a:extLst>
                <a:ext uri="{FF2B5EF4-FFF2-40B4-BE49-F238E27FC236}">
                  <a16:creationId xmlns:a16="http://schemas.microsoft.com/office/drawing/2014/main" id="{B25F963F-3707-374C-B5B5-CE248C9305D1}"/>
                </a:ext>
              </a:extLst>
            </p:cNvPr>
            <p:cNvSpPr/>
            <p:nvPr/>
          </p:nvSpPr>
          <p:spPr>
            <a:xfrm>
              <a:off x="2306800" y="2322100"/>
              <a:ext cx="187100" cy="162050"/>
            </a:xfrm>
            <a:custGeom>
              <a:avLst/>
              <a:gdLst/>
              <a:ahLst/>
              <a:cxnLst/>
              <a:rect l="l" t="t" r="r" b="b"/>
              <a:pathLst>
                <a:path w="7484" h="6482" extrusionOk="0">
                  <a:moveTo>
                    <a:pt x="7483" y="1"/>
                  </a:moveTo>
                  <a:lnTo>
                    <a:pt x="7421" y="376"/>
                  </a:lnTo>
                  <a:lnTo>
                    <a:pt x="7358" y="783"/>
                  </a:lnTo>
                  <a:lnTo>
                    <a:pt x="7421" y="408"/>
                  </a:lnTo>
                  <a:lnTo>
                    <a:pt x="7483" y="1"/>
                  </a:lnTo>
                  <a:close/>
                  <a:moveTo>
                    <a:pt x="6732" y="2349"/>
                  </a:moveTo>
                  <a:lnTo>
                    <a:pt x="6544" y="2599"/>
                  </a:lnTo>
                  <a:lnTo>
                    <a:pt x="6356" y="2881"/>
                  </a:lnTo>
                  <a:lnTo>
                    <a:pt x="6575" y="2599"/>
                  </a:lnTo>
                  <a:lnTo>
                    <a:pt x="6732" y="2349"/>
                  </a:lnTo>
                  <a:close/>
                  <a:moveTo>
                    <a:pt x="6356" y="2881"/>
                  </a:moveTo>
                  <a:lnTo>
                    <a:pt x="6106" y="3132"/>
                  </a:lnTo>
                  <a:lnTo>
                    <a:pt x="5855" y="3413"/>
                  </a:lnTo>
                  <a:lnTo>
                    <a:pt x="6106" y="3163"/>
                  </a:lnTo>
                  <a:lnTo>
                    <a:pt x="6356" y="2881"/>
                  </a:lnTo>
                  <a:close/>
                  <a:moveTo>
                    <a:pt x="5198" y="3977"/>
                  </a:moveTo>
                  <a:lnTo>
                    <a:pt x="4822" y="4227"/>
                  </a:lnTo>
                  <a:lnTo>
                    <a:pt x="4384" y="4509"/>
                  </a:lnTo>
                  <a:lnTo>
                    <a:pt x="3914" y="4791"/>
                  </a:lnTo>
                  <a:lnTo>
                    <a:pt x="3413" y="5073"/>
                  </a:lnTo>
                  <a:lnTo>
                    <a:pt x="2818" y="5354"/>
                  </a:lnTo>
                  <a:lnTo>
                    <a:pt x="2223" y="5636"/>
                  </a:lnTo>
                  <a:lnTo>
                    <a:pt x="1535" y="5918"/>
                  </a:lnTo>
                  <a:lnTo>
                    <a:pt x="815" y="6200"/>
                  </a:lnTo>
                  <a:lnTo>
                    <a:pt x="1" y="6482"/>
                  </a:lnTo>
                  <a:lnTo>
                    <a:pt x="815" y="6231"/>
                  </a:lnTo>
                  <a:lnTo>
                    <a:pt x="1535" y="5949"/>
                  </a:lnTo>
                  <a:lnTo>
                    <a:pt x="2192" y="5668"/>
                  </a:lnTo>
                  <a:lnTo>
                    <a:pt x="2818" y="5386"/>
                  </a:lnTo>
                  <a:lnTo>
                    <a:pt x="3382" y="5104"/>
                  </a:lnTo>
                  <a:lnTo>
                    <a:pt x="3914" y="4822"/>
                  </a:lnTo>
                  <a:lnTo>
                    <a:pt x="4384" y="4540"/>
                  </a:lnTo>
                  <a:lnTo>
                    <a:pt x="4822" y="4259"/>
                  </a:lnTo>
                  <a:lnTo>
                    <a:pt x="5198" y="3977"/>
                  </a:lnTo>
                  <a:close/>
                </a:path>
              </a:pathLst>
            </a:custGeom>
            <a:solidFill>
              <a:srgbClr val="D9D9DE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Google Shape;744;p138">
              <a:extLst>
                <a:ext uri="{FF2B5EF4-FFF2-40B4-BE49-F238E27FC236}">
                  <a16:creationId xmlns:a16="http://schemas.microsoft.com/office/drawing/2014/main" id="{923E3DFC-C7BA-7471-E9FB-738FAA3C83D2}"/>
                </a:ext>
              </a:extLst>
            </p:cNvPr>
            <p:cNvSpPr/>
            <p:nvPr/>
          </p:nvSpPr>
          <p:spPr>
            <a:xfrm>
              <a:off x="2285675" y="2380800"/>
              <a:ext cx="189425" cy="110400"/>
            </a:xfrm>
            <a:custGeom>
              <a:avLst/>
              <a:gdLst/>
              <a:ahLst/>
              <a:cxnLst/>
              <a:rect l="l" t="t" r="r" b="b"/>
              <a:pathLst>
                <a:path w="7577" h="4416" fill="none" extrusionOk="0">
                  <a:moveTo>
                    <a:pt x="7577" y="1"/>
                  </a:moveTo>
                  <a:lnTo>
                    <a:pt x="7577" y="1"/>
                  </a:lnTo>
                  <a:lnTo>
                    <a:pt x="7420" y="251"/>
                  </a:lnTo>
                  <a:lnTo>
                    <a:pt x="7201" y="533"/>
                  </a:lnTo>
                  <a:lnTo>
                    <a:pt x="6951" y="784"/>
                  </a:lnTo>
                  <a:lnTo>
                    <a:pt x="6700" y="1065"/>
                  </a:lnTo>
                  <a:lnTo>
                    <a:pt x="6387" y="1347"/>
                  </a:lnTo>
                  <a:lnTo>
                    <a:pt x="6043" y="1629"/>
                  </a:lnTo>
                  <a:lnTo>
                    <a:pt x="5667" y="1879"/>
                  </a:lnTo>
                  <a:lnTo>
                    <a:pt x="5229" y="2161"/>
                  </a:lnTo>
                  <a:lnTo>
                    <a:pt x="4759" y="2443"/>
                  </a:lnTo>
                  <a:lnTo>
                    <a:pt x="4258" y="2725"/>
                  </a:lnTo>
                  <a:lnTo>
                    <a:pt x="3663" y="3006"/>
                  </a:lnTo>
                  <a:lnTo>
                    <a:pt x="3068" y="3288"/>
                  </a:lnTo>
                  <a:lnTo>
                    <a:pt x="2380" y="3570"/>
                  </a:lnTo>
                  <a:lnTo>
                    <a:pt x="1660" y="3852"/>
                  </a:lnTo>
                  <a:lnTo>
                    <a:pt x="846" y="4134"/>
                  </a:lnTo>
                  <a:lnTo>
                    <a:pt x="0" y="4415"/>
                  </a:lnTo>
                  <a:lnTo>
                    <a:pt x="0" y="4415"/>
                  </a:lnTo>
                  <a:lnTo>
                    <a:pt x="846" y="4134"/>
                  </a:lnTo>
                  <a:lnTo>
                    <a:pt x="1660" y="3883"/>
                  </a:lnTo>
                  <a:lnTo>
                    <a:pt x="2380" y="3601"/>
                  </a:lnTo>
                  <a:lnTo>
                    <a:pt x="3037" y="3320"/>
                  </a:lnTo>
                  <a:lnTo>
                    <a:pt x="3663" y="3038"/>
                  </a:lnTo>
                  <a:lnTo>
                    <a:pt x="4227" y="2756"/>
                  </a:lnTo>
                  <a:lnTo>
                    <a:pt x="4759" y="2474"/>
                  </a:lnTo>
                  <a:lnTo>
                    <a:pt x="5229" y="2192"/>
                  </a:lnTo>
                  <a:lnTo>
                    <a:pt x="5667" y="1911"/>
                  </a:lnTo>
                  <a:lnTo>
                    <a:pt x="6043" y="1629"/>
                  </a:lnTo>
                  <a:lnTo>
                    <a:pt x="6387" y="1347"/>
                  </a:lnTo>
                  <a:lnTo>
                    <a:pt x="6700" y="1065"/>
                  </a:lnTo>
                  <a:lnTo>
                    <a:pt x="6951" y="815"/>
                  </a:lnTo>
                  <a:lnTo>
                    <a:pt x="7201" y="533"/>
                  </a:lnTo>
                  <a:lnTo>
                    <a:pt x="7389" y="251"/>
                  </a:lnTo>
                  <a:lnTo>
                    <a:pt x="7577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4" name="Google Shape;745;p138">
              <a:extLst>
                <a:ext uri="{FF2B5EF4-FFF2-40B4-BE49-F238E27FC236}">
                  <a16:creationId xmlns:a16="http://schemas.microsoft.com/office/drawing/2014/main" id="{5533010D-185B-5A19-A760-9B9D6FAE7F37}"/>
                </a:ext>
              </a:extLst>
            </p:cNvPr>
            <p:cNvSpPr/>
            <p:nvPr/>
          </p:nvSpPr>
          <p:spPr>
            <a:xfrm>
              <a:off x="2490750" y="2322100"/>
              <a:ext cx="3150" cy="19600"/>
            </a:xfrm>
            <a:custGeom>
              <a:avLst/>
              <a:gdLst/>
              <a:ahLst/>
              <a:cxnLst/>
              <a:rect l="l" t="t" r="r" b="b"/>
              <a:pathLst>
                <a:path w="126" h="784" fill="none" extrusionOk="0">
                  <a:moveTo>
                    <a:pt x="125" y="1"/>
                  </a:moveTo>
                  <a:lnTo>
                    <a:pt x="125" y="1"/>
                  </a:lnTo>
                  <a:lnTo>
                    <a:pt x="63" y="408"/>
                  </a:lnTo>
                  <a:lnTo>
                    <a:pt x="0" y="783"/>
                  </a:lnTo>
                  <a:lnTo>
                    <a:pt x="0" y="783"/>
                  </a:lnTo>
                  <a:lnTo>
                    <a:pt x="63" y="376"/>
                  </a:lnTo>
                  <a:lnTo>
                    <a:pt x="12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5" name="Google Shape;746;p138">
              <a:extLst>
                <a:ext uri="{FF2B5EF4-FFF2-40B4-BE49-F238E27FC236}">
                  <a16:creationId xmlns:a16="http://schemas.microsoft.com/office/drawing/2014/main" id="{C7CAFD2C-A475-0D0F-B7AD-3D42BEBD2AE0}"/>
                </a:ext>
              </a:extLst>
            </p:cNvPr>
            <p:cNvSpPr/>
            <p:nvPr/>
          </p:nvSpPr>
          <p:spPr>
            <a:xfrm>
              <a:off x="2491525" y="2314275"/>
              <a:ext cx="4725" cy="1600"/>
            </a:xfrm>
            <a:custGeom>
              <a:avLst/>
              <a:gdLst/>
              <a:ahLst/>
              <a:cxnLst/>
              <a:rect l="l" t="t" r="r" b="b"/>
              <a:pathLst>
                <a:path w="189" h="64" fill="none" extrusionOk="0">
                  <a:moveTo>
                    <a:pt x="188" y="1"/>
                  </a:moveTo>
                  <a:lnTo>
                    <a:pt x="188" y="1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88" y="1"/>
                  </a:lnTo>
                  <a:lnTo>
                    <a:pt x="188" y="1"/>
                  </a:lnTo>
                  <a:lnTo>
                    <a:pt x="188" y="1"/>
                  </a:lnTo>
                  <a:lnTo>
                    <a:pt x="188" y="1"/>
                  </a:lnTo>
                  <a:lnTo>
                    <a:pt x="188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" name="Google Shape;747;p138">
              <a:extLst>
                <a:ext uri="{FF2B5EF4-FFF2-40B4-BE49-F238E27FC236}">
                  <a16:creationId xmlns:a16="http://schemas.microsoft.com/office/drawing/2014/main" id="{651E9CC6-144F-4ED9-F5E5-B560C0CA1136}"/>
                </a:ext>
              </a:extLst>
            </p:cNvPr>
            <p:cNvSpPr/>
            <p:nvPr/>
          </p:nvSpPr>
          <p:spPr>
            <a:xfrm>
              <a:off x="2285675" y="2314275"/>
              <a:ext cx="210575" cy="176925"/>
            </a:xfrm>
            <a:custGeom>
              <a:avLst/>
              <a:gdLst/>
              <a:ahLst/>
              <a:cxnLst/>
              <a:rect l="l" t="t" r="r" b="b"/>
              <a:pathLst>
                <a:path w="8423" h="7077" extrusionOk="0">
                  <a:moveTo>
                    <a:pt x="8422" y="1"/>
                  </a:moveTo>
                  <a:lnTo>
                    <a:pt x="8234" y="63"/>
                  </a:lnTo>
                  <a:lnTo>
                    <a:pt x="7546" y="345"/>
                  </a:lnTo>
                  <a:lnTo>
                    <a:pt x="6857" y="721"/>
                  </a:lnTo>
                  <a:lnTo>
                    <a:pt x="6168" y="1096"/>
                  </a:lnTo>
                  <a:lnTo>
                    <a:pt x="5511" y="1535"/>
                  </a:lnTo>
                  <a:lnTo>
                    <a:pt x="4884" y="1973"/>
                  </a:lnTo>
                  <a:lnTo>
                    <a:pt x="4258" y="2443"/>
                  </a:lnTo>
                  <a:lnTo>
                    <a:pt x="3663" y="2944"/>
                  </a:lnTo>
                  <a:lnTo>
                    <a:pt x="3068" y="3445"/>
                  </a:lnTo>
                  <a:lnTo>
                    <a:pt x="2536" y="3945"/>
                  </a:lnTo>
                  <a:lnTo>
                    <a:pt x="2035" y="4446"/>
                  </a:lnTo>
                  <a:lnTo>
                    <a:pt x="1566" y="4947"/>
                  </a:lnTo>
                  <a:lnTo>
                    <a:pt x="1159" y="5448"/>
                  </a:lnTo>
                  <a:lnTo>
                    <a:pt x="783" y="5887"/>
                  </a:lnTo>
                  <a:lnTo>
                    <a:pt x="470" y="6325"/>
                  </a:lnTo>
                  <a:lnTo>
                    <a:pt x="188" y="6732"/>
                  </a:lnTo>
                  <a:lnTo>
                    <a:pt x="0" y="7076"/>
                  </a:lnTo>
                  <a:lnTo>
                    <a:pt x="846" y="6795"/>
                  </a:lnTo>
                  <a:lnTo>
                    <a:pt x="1660" y="6513"/>
                  </a:lnTo>
                  <a:lnTo>
                    <a:pt x="2380" y="6231"/>
                  </a:lnTo>
                  <a:lnTo>
                    <a:pt x="3068" y="5949"/>
                  </a:lnTo>
                  <a:lnTo>
                    <a:pt x="3663" y="5667"/>
                  </a:lnTo>
                  <a:lnTo>
                    <a:pt x="4258" y="5386"/>
                  </a:lnTo>
                  <a:lnTo>
                    <a:pt x="4759" y="5104"/>
                  </a:lnTo>
                  <a:lnTo>
                    <a:pt x="5229" y="4822"/>
                  </a:lnTo>
                  <a:lnTo>
                    <a:pt x="5667" y="4540"/>
                  </a:lnTo>
                  <a:lnTo>
                    <a:pt x="6043" y="4290"/>
                  </a:lnTo>
                  <a:lnTo>
                    <a:pt x="6387" y="4008"/>
                  </a:lnTo>
                  <a:lnTo>
                    <a:pt x="6700" y="3726"/>
                  </a:lnTo>
                  <a:lnTo>
                    <a:pt x="6951" y="3445"/>
                  </a:lnTo>
                  <a:lnTo>
                    <a:pt x="7201" y="3194"/>
                  </a:lnTo>
                  <a:lnTo>
                    <a:pt x="7420" y="2912"/>
                  </a:lnTo>
                  <a:lnTo>
                    <a:pt x="7577" y="2662"/>
                  </a:lnTo>
                  <a:lnTo>
                    <a:pt x="7827" y="2255"/>
                  </a:lnTo>
                  <a:lnTo>
                    <a:pt x="7984" y="1848"/>
                  </a:lnTo>
                  <a:lnTo>
                    <a:pt x="8109" y="1472"/>
                  </a:lnTo>
                  <a:lnTo>
                    <a:pt x="8203" y="1096"/>
                  </a:lnTo>
                  <a:lnTo>
                    <a:pt x="8266" y="721"/>
                  </a:lnTo>
                  <a:lnTo>
                    <a:pt x="8328" y="314"/>
                  </a:lnTo>
                  <a:lnTo>
                    <a:pt x="8360" y="32"/>
                  </a:lnTo>
                  <a:lnTo>
                    <a:pt x="8422" y="1"/>
                  </a:lnTo>
                  <a:close/>
                </a:path>
              </a:pathLst>
            </a:custGeom>
            <a:solidFill>
              <a:srgbClr val="52938F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" name="Google Shape;748;p138">
              <a:extLst>
                <a:ext uri="{FF2B5EF4-FFF2-40B4-BE49-F238E27FC236}">
                  <a16:creationId xmlns:a16="http://schemas.microsoft.com/office/drawing/2014/main" id="{0ABA85FA-53F2-1E7E-6A31-F79DF6BC1FF6}"/>
                </a:ext>
              </a:extLst>
            </p:cNvPr>
            <p:cNvSpPr/>
            <p:nvPr/>
          </p:nvSpPr>
          <p:spPr>
            <a:xfrm>
              <a:off x="2296625" y="1313975"/>
              <a:ext cx="264575" cy="210575"/>
            </a:xfrm>
            <a:custGeom>
              <a:avLst/>
              <a:gdLst/>
              <a:ahLst/>
              <a:cxnLst/>
              <a:rect l="l" t="t" r="r" b="b"/>
              <a:pathLst>
                <a:path w="10583" h="8423" extrusionOk="0">
                  <a:moveTo>
                    <a:pt x="10583" y="1"/>
                  </a:moveTo>
                  <a:lnTo>
                    <a:pt x="10489" y="32"/>
                  </a:lnTo>
                  <a:lnTo>
                    <a:pt x="7702" y="752"/>
                  </a:lnTo>
                  <a:lnTo>
                    <a:pt x="7014" y="940"/>
                  </a:lnTo>
                  <a:lnTo>
                    <a:pt x="6325" y="1191"/>
                  </a:lnTo>
                  <a:lnTo>
                    <a:pt x="5699" y="1410"/>
                  </a:lnTo>
                  <a:lnTo>
                    <a:pt x="5041" y="1691"/>
                  </a:lnTo>
                  <a:lnTo>
                    <a:pt x="4446" y="2005"/>
                  </a:lnTo>
                  <a:lnTo>
                    <a:pt x="3851" y="2349"/>
                  </a:lnTo>
                  <a:lnTo>
                    <a:pt x="3288" y="2725"/>
                  </a:lnTo>
                  <a:lnTo>
                    <a:pt x="2756" y="3132"/>
                  </a:lnTo>
                  <a:lnTo>
                    <a:pt x="2286" y="3601"/>
                  </a:lnTo>
                  <a:lnTo>
                    <a:pt x="1816" y="4071"/>
                  </a:lnTo>
                  <a:lnTo>
                    <a:pt x="1409" y="4603"/>
                  </a:lnTo>
                  <a:lnTo>
                    <a:pt x="1034" y="5198"/>
                  </a:lnTo>
                  <a:lnTo>
                    <a:pt x="689" y="5793"/>
                  </a:lnTo>
                  <a:lnTo>
                    <a:pt x="408" y="6482"/>
                  </a:lnTo>
                  <a:lnTo>
                    <a:pt x="188" y="7170"/>
                  </a:lnTo>
                  <a:lnTo>
                    <a:pt x="1" y="7953"/>
                  </a:lnTo>
                  <a:lnTo>
                    <a:pt x="126" y="8423"/>
                  </a:lnTo>
                  <a:lnTo>
                    <a:pt x="1065" y="8141"/>
                  </a:lnTo>
                  <a:lnTo>
                    <a:pt x="1910" y="7859"/>
                  </a:lnTo>
                  <a:lnTo>
                    <a:pt x="2724" y="7577"/>
                  </a:lnTo>
                  <a:lnTo>
                    <a:pt x="3476" y="7264"/>
                  </a:lnTo>
                  <a:lnTo>
                    <a:pt x="4165" y="6983"/>
                  </a:lnTo>
                  <a:lnTo>
                    <a:pt x="4822" y="6701"/>
                  </a:lnTo>
                  <a:lnTo>
                    <a:pt x="5417" y="6419"/>
                  </a:lnTo>
                  <a:lnTo>
                    <a:pt x="5980" y="6137"/>
                  </a:lnTo>
                  <a:lnTo>
                    <a:pt x="6481" y="5855"/>
                  </a:lnTo>
                  <a:lnTo>
                    <a:pt x="6951" y="5574"/>
                  </a:lnTo>
                  <a:lnTo>
                    <a:pt x="7389" y="5261"/>
                  </a:lnTo>
                  <a:lnTo>
                    <a:pt x="7796" y="4979"/>
                  </a:lnTo>
                  <a:lnTo>
                    <a:pt x="8141" y="4697"/>
                  </a:lnTo>
                  <a:lnTo>
                    <a:pt x="8454" y="4415"/>
                  </a:lnTo>
                  <a:lnTo>
                    <a:pt x="8767" y="4165"/>
                  </a:lnTo>
                  <a:lnTo>
                    <a:pt x="9017" y="3883"/>
                  </a:lnTo>
                  <a:lnTo>
                    <a:pt x="9237" y="3601"/>
                  </a:lnTo>
                  <a:lnTo>
                    <a:pt x="9456" y="3319"/>
                  </a:lnTo>
                  <a:lnTo>
                    <a:pt x="9769" y="2819"/>
                  </a:lnTo>
                  <a:lnTo>
                    <a:pt x="10019" y="2286"/>
                  </a:lnTo>
                  <a:lnTo>
                    <a:pt x="10207" y="1785"/>
                  </a:lnTo>
                  <a:lnTo>
                    <a:pt x="10332" y="1316"/>
                  </a:lnTo>
                  <a:lnTo>
                    <a:pt x="10395" y="877"/>
                  </a:lnTo>
                  <a:lnTo>
                    <a:pt x="10520" y="32"/>
                  </a:lnTo>
                  <a:lnTo>
                    <a:pt x="10583" y="1"/>
                  </a:lnTo>
                  <a:close/>
                </a:path>
              </a:pathLst>
            </a:custGeom>
            <a:solidFill>
              <a:srgbClr val="6DD2C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8" name="Google Shape;749;p138">
              <a:extLst>
                <a:ext uri="{FF2B5EF4-FFF2-40B4-BE49-F238E27FC236}">
                  <a16:creationId xmlns:a16="http://schemas.microsoft.com/office/drawing/2014/main" id="{E1E391B4-3ECB-B674-EF3E-1C0003D84088}"/>
                </a:ext>
              </a:extLst>
            </p:cNvPr>
            <p:cNvSpPr/>
            <p:nvPr/>
          </p:nvSpPr>
          <p:spPr>
            <a:xfrm>
              <a:off x="2342025" y="1413375"/>
              <a:ext cx="177700" cy="97875"/>
            </a:xfrm>
            <a:custGeom>
              <a:avLst/>
              <a:gdLst/>
              <a:ahLst/>
              <a:cxnLst/>
              <a:rect l="l" t="t" r="r" b="b"/>
              <a:pathLst>
                <a:path w="7108" h="3915" extrusionOk="0">
                  <a:moveTo>
                    <a:pt x="7107" y="1"/>
                  </a:moveTo>
                  <a:lnTo>
                    <a:pt x="6794" y="314"/>
                  </a:lnTo>
                  <a:lnTo>
                    <a:pt x="6450" y="627"/>
                  </a:lnTo>
                  <a:lnTo>
                    <a:pt x="6043" y="972"/>
                  </a:lnTo>
                  <a:lnTo>
                    <a:pt x="6043" y="972"/>
                  </a:lnTo>
                  <a:lnTo>
                    <a:pt x="6419" y="658"/>
                  </a:lnTo>
                  <a:lnTo>
                    <a:pt x="6794" y="345"/>
                  </a:lnTo>
                  <a:lnTo>
                    <a:pt x="7107" y="1"/>
                  </a:lnTo>
                  <a:close/>
                  <a:moveTo>
                    <a:pt x="6043" y="972"/>
                  </a:moveTo>
                  <a:lnTo>
                    <a:pt x="5605" y="1285"/>
                  </a:lnTo>
                  <a:lnTo>
                    <a:pt x="5104" y="1598"/>
                  </a:lnTo>
                  <a:lnTo>
                    <a:pt x="4540" y="1942"/>
                  </a:lnTo>
                  <a:lnTo>
                    <a:pt x="3945" y="2255"/>
                  </a:lnTo>
                  <a:lnTo>
                    <a:pt x="3288" y="2600"/>
                  </a:lnTo>
                  <a:lnTo>
                    <a:pt x="2568" y="2913"/>
                  </a:lnTo>
                  <a:lnTo>
                    <a:pt x="1785" y="3257"/>
                  </a:lnTo>
                  <a:lnTo>
                    <a:pt x="2568" y="2944"/>
                  </a:lnTo>
                  <a:lnTo>
                    <a:pt x="3288" y="2631"/>
                  </a:lnTo>
                  <a:lnTo>
                    <a:pt x="3945" y="2286"/>
                  </a:lnTo>
                  <a:lnTo>
                    <a:pt x="4540" y="1973"/>
                  </a:lnTo>
                  <a:lnTo>
                    <a:pt x="5104" y="1629"/>
                  </a:lnTo>
                  <a:lnTo>
                    <a:pt x="5605" y="1316"/>
                  </a:lnTo>
                  <a:lnTo>
                    <a:pt x="6043" y="972"/>
                  </a:lnTo>
                  <a:close/>
                  <a:moveTo>
                    <a:pt x="1785" y="3257"/>
                  </a:moveTo>
                  <a:lnTo>
                    <a:pt x="940" y="3570"/>
                  </a:lnTo>
                  <a:lnTo>
                    <a:pt x="0" y="3914"/>
                  </a:lnTo>
                  <a:lnTo>
                    <a:pt x="908" y="3601"/>
                  </a:lnTo>
                  <a:lnTo>
                    <a:pt x="1785" y="3257"/>
                  </a:lnTo>
                  <a:close/>
                </a:path>
              </a:pathLst>
            </a:custGeom>
            <a:solidFill>
              <a:srgbClr val="D9D9DE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9" name="Google Shape;750;p138">
              <a:extLst>
                <a:ext uri="{FF2B5EF4-FFF2-40B4-BE49-F238E27FC236}">
                  <a16:creationId xmlns:a16="http://schemas.microsoft.com/office/drawing/2014/main" id="{E99642E6-2335-2E67-BD1F-B91255EC1279}"/>
                </a:ext>
              </a:extLst>
            </p:cNvPr>
            <p:cNvSpPr/>
            <p:nvPr/>
          </p:nvSpPr>
          <p:spPr>
            <a:xfrm>
              <a:off x="2316975" y="1390700"/>
              <a:ext cx="220750" cy="128375"/>
            </a:xfrm>
            <a:custGeom>
              <a:avLst/>
              <a:gdLst/>
              <a:ahLst/>
              <a:cxnLst/>
              <a:rect l="l" t="t" r="r" b="b"/>
              <a:pathLst>
                <a:path w="8830" h="5135" fill="none" extrusionOk="0">
                  <a:moveTo>
                    <a:pt x="8830" y="0"/>
                  </a:moveTo>
                  <a:lnTo>
                    <a:pt x="8830" y="0"/>
                  </a:lnTo>
                  <a:lnTo>
                    <a:pt x="8610" y="282"/>
                  </a:lnTo>
                  <a:lnTo>
                    <a:pt x="8360" y="595"/>
                  </a:lnTo>
                  <a:lnTo>
                    <a:pt x="8109" y="908"/>
                  </a:lnTo>
                  <a:lnTo>
                    <a:pt x="7796" y="1221"/>
                  </a:lnTo>
                  <a:lnTo>
                    <a:pt x="7452" y="1534"/>
                  </a:lnTo>
                  <a:lnTo>
                    <a:pt x="7045" y="1879"/>
                  </a:lnTo>
                  <a:lnTo>
                    <a:pt x="6607" y="2192"/>
                  </a:lnTo>
                  <a:lnTo>
                    <a:pt x="6106" y="2505"/>
                  </a:lnTo>
                  <a:lnTo>
                    <a:pt x="5542" y="2849"/>
                  </a:lnTo>
                  <a:lnTo>
                    <a:pt x="4947" y="3162"/>
                  </a:lnTo>
                  <a:lnTo>
                    <a:pt x="4290" y="3507"/>
                  </a:lnTo>
                  <a:lnTo>
                    <a:pt x="3570" y="3820"/>
                  </a:lnTo>
                  <a:lnTo>
                    <a:pt x="2787" y="4164"/>
                  </a:lnTo>
                  <a:lnTo>
                    <a:pt x="1942" y="4477"/>
                  </a:lnTo>
                  <a:lnTo>
                    <a:pt x="1002" y="4821"/>
                  </a:lnTo>
                  <a:lnTo>
                    <a:pt x="1" y="5135"/>
                  </a:lnTo>
                  <a:lnTo>
                    <a:pt x="1" y="5135"/>
                  </a:lnTo>
                  <a:lnTo>
                    <a:pt x="1002" y="4821"/>
                  </a:lnTo>
                  <a:lnTo>
                    <a:pt x="1910" y="4508"/>
                  </a:lnTo>
                  <a:lnTo>
                    <a:pt x="2787" y="4164"/>
                  </a:lnTo>
                  <a:lnTo>
                    <a:pt x="3570" y="3851"/>
                  </a:lnTo>
                  <a:lnTo>
                    <a:pt x="4290" y="3538"/>
                  </a:lnTo>
                  <a:lnTo>
                    <a:pt x="4947" y="3193"/>
                  </a:lnTo>
                  <a:lnTo>
                    <a:pt x="5542" y="2880"/>
                  </a:lnTo>
                  <a:lnTo>
                    <a:pt x="6106" y="2536"/>
                  </a:lnTo>
                  <a:lnTo>
                    <a:pt x="6607" y="2223"/>
                  </a:lnTo>
                  <a:lnTo>
                    <a:pt x="7045" y="1879"/>
                  </a:lnTo>
                  <a:lnTo>
                    <a:pt x="7421" y="1565"/>
                  </a:lnTo>
                  <a:lnTo>
                    <a:pt x="7796" y="1252"/>
                  </a:lnTo>
                  <a:lnTo>
                    <a:pt x="8109" y="908"/>
                  </a:lnTo>
                  <a:lnTo>
                    <a:pt x="8360" y="595"/>
                  </a:lnTo>
                  <a:lnTo>
                    <a:pt x="8610" y="282"/>
                  </a:lnTo>
                  <a:lnTo>
                    <a:pt x="883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0" name="Google Shape;751;p138">
              <a:extLst>
                <a:ext uri="{FF2B5EF4-FFF2-40B4-BE49-F238E27FC236}">
                  <a16:creationId xmlns:a16="http://schemas.microsoft.com/office/drawing/2014/main" id="{E3BE856E-947C-9CCA-4DA2-F5C1F40FC3D2}"/>
                </a:ext>
              </a:extLst>
            </p:cNvPr>
            <p:cNvSpPr/>
            <p:nvPr/>
          </p:nvSpPr>
          <p:spPr>
            <a:xfrm>
              <a:off x="2554925" y="1322600"/>
              <a:ext cx="3925" cy="24275"/>
            </a:xfrm>
            <a:custGeom>
              <a:avLst/>
              <a:gdLst/>
              <a:ahLst/>
              <a:cxnLst/>
              <a:rect l="l" t="t" r="r" b="b"/>
              <a:pathLst>
                <a:path w="157" h="971" fill="none" extrusionOk="0">
                  <a:moveTo>
                    <a:pt x="157" y="0"/>
                  </a:moveTo>
                  <a:lnTo>
                    <a:pt x="157" y="0"/>
                  </a:lnTo>
                  <a:lnTo>
                    <a:pt x="94" y="470"/>
                  </a:lnTo>
                  <a:lnTo>
                    <a:pt x="0" y="971"/>
                  </a:lnTo>
                  <a:lnTo>
                    <a:pt x="0" y="971"/>
                  </a:lnTo>
                  <a:lnTo>
                    <a:pt x="94" y="470"/>
                  </a:lnTo>
                  <a:lnTo>
                    <a:pt x="15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1" name="Google Shape;752;p138">
              <a:extLst>
                <a:ext uri="{FF2B5EF4-FFF2-40B4-BE49-F238E27FC236}">
                  <a16:creationId xmlns:a16="http://schemas.microsoft.com/office/drawing/2014/main" id="{5F97F10A-85F1-E55A-2D48-66721A126531}"/>
                </a:ext>
              </a:extLst>
            </p:cNvPr>
            <p:cNvSpPr/>
            <p:nvPr/>
          </p:nvSpPr>
          <p:spPr>
            <a:xfrm>
              <a:off x="2555700" y="1313975"/>
              <a:ext cx="5500" cy="1600"/>
            </a:xfrm>
            <a:custGeom>
              <a:avLst/>
              <a:gdLst/>
              <a:ahLst/>
              <a:cxnLst/>
              <a:rect l="l" t="t" r="r" b="b"/>
              <a:pathLst>
                <a:path w="220" h="64" fill="none" extrusionOk="0">
                  <a:moveTo>
                    <a:pt x="220" y="1"/>
                  </a:moveTo>
                  <a:lnTo>
                    <a:pt x="220" y="1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220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2" name="Google Shape;753;p138">
              <a:extLst>
                <a:ext uri="{FF2B5EF4-FFF2-40B4-BE49-F238E27FC236}">
                  <a16:creationId xmlns:a16="http://schemas.microsoft.com/office/drawing/2014/main" id="{E227E76E-368E-48FB-6ADA-3E8A730C4398}"/>
                </a:ext>
              </a:extLst>
            </p:cNvPr>
            <p:cNvSpPr/>
            <p:nvPr/>
          </p:nvSpPr>
          <p:spPr>
            <a:xfrm>
              <a:off x="2316975" y="1313975"/>
              <a:ext cx="245025" cy="205100"/>
            </a:xfrm>
            <a:custGeom>
              <a:avLst/>
              <a:gdLst/>
              <a:ahLst/>
              <a:cxnLst/>
              <a:rect l="l" t="t" r="r" b="b"/>
              <a:pathLst>
                <a:path w="9801" h="8204" extrusionOk="0">
                  <a:moveTo>
                    <a:pt x="9769" y="1"/>
                  </a:moveTo>
                  <a:lnTo>
                    <a:pt x="9550" y="63"/>
                  </a:lnTo>
                  <a:lnTo>
                    <a:pt x="8736" y="408"/>
                  </a:lnTo>
                  <a:lnTo>
                    <a:pt x="7953" y="815"/>
                  </a:lnTo>
                  <a:lnTo>
                    <a:pt x="7170" y="1253"/>
                  </a:lnTo>
                  <a:lnTo>
                    <a:pt x="6419" y="1754"/>
                  </a:lnTo>
                  <a:lnTo>
                    <a:pt x="5667" y="2286"/>
                  </a:lnTo>
                  <a:lnTo>
                    <a:pt x="4947" y="2850"/>
                  </a:lnTo>
                  <a:lnTo>
                    <a:pt x="4227" y="3413"/>
                  </a:lnTo>
                  <a:lnTo>
                    <a:pt x="3570" y="3977"/>
                  </a:lnTo>
                  <a:lnTo>
                    <a:pt x="2944" y="4572"/>
                  </a:lnTo>
                  <a:lnTo>
                    <a:pt x="2380" y="5167"/>
                  </a:lnTo>
                  <a:lnTo>
                    <a:pt x="1848" y="5730"/>
                  </a:lnTo>
                  <a:lnTo>
                    <a:pt x="1347" y="6294"/>
                  </a:lnTo>
                  <a:lnTo>
                    <a:pt x="909" y="6826"/>
                  </a:lnTo>
                  <a:lnTo>
                    <a:pt x="564" y="7327"/>
                  </a:lnTo>
                  <a:lnTo>
                    <a:pt x="251" y="7797"/>
                  </a:lnTo>
                  <a:lnTo>
                    <a:pt x="1" y="8204"/>
                  </a:lnTo>
                  <a:lnTo>
                    <a:pt x="1002" y="7890"/>
                  </a:lnTo>
                  <a:lnTo>
                    <a:pt x="1942" y="7546"/>
                  </a:lnTo>
                  <a:lnTo>
                    <a:pt x="2787" y="7233"/>
                  </a:lnTo>
                  <a:lnTo>
                    <a:pt x="3570" y="6889"/>
                  </a:lnTo>
                  <a:lnTo>
                    <a:pt x="4290" y="6576"/>
                  </a:lnTo>
                  <a:lnTo>
                    <a:pt x="4947" y="6231"/>
                  </a:lnTo>
                  <a:lnTo>
                    <a:pt x="5542" y="5918"/>
                  </a:lnTo>
                  <a:lnTo>
                    <a:pt x="6106" y="5574"/>
                  </a:lnTo>
                  <a:lnTo>
                    <a:pt x="6607" y="5261"/>
                  </a:lnTo>
                  <a:lnTo>
                    <a:pt x="7045" y="4948"/>
                  </a:lnTo>
                  <a:lnTo>
                    <a:pt x="7452" y="4603"/>
                  </a:lnTo>
                  <a:lnTo>
                    <a:pt x="7796" y="4290"/>
                  </a:lnTo>
                  <a:lnTo>
                    <a:pt x="8109" y="3977"/>
                  </a:lnTo>
                  <a:lnTo>
                    <a:pt x="8360" y="3664"/>
                  </a:lnTo>
                  <a:lnTo>
                    <a:pt x="8610" y="3351"/>
                  </a:lnTo>
                  <a:lnTo>
                    <a:pt x="8830" y="3069"/>
                  </a:lnTo>
                  <a:lnTo>
                    <a:pt x="9080" y="2599"/>
                  </a:lnTo>
                  <a:lnTo>
                    <a:pt x="9268" y="2161"/>
                  </a:lnTo>
                  <a:lnTo>
                    <a:pt x="9393" y="1754"/>
                  </a:lnTo>
                  <a:lnTo>
                    <a:pt x="9518" y="1316"/>
                  </a:lnTo>
                  <a:lnTo>
                    <a:pt x="9612" y="815"/>
                  </a:lnTo>
                  <a:lnTo>
                    <a:pt x="9675" y="345"/>
                  </a:lnTo>
                  <a:lnTo>
                    <a:pt x="9706" y="32"/>
                  </a:lnTo>
                  <a:lnTo>
                    <a:pt x="9800" y="1"/>
                  </a:lnTo>
                  <a:close/>
                </a:path>
              </a:pathLst>
            </a:custGeom>
            <a:solidFill>
              <a:srgbClr val="52938F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3" name="Google Shape;754;p138">
              <a:extLst>
                <a:ext uri="{FF2B5EF4-FFF2-40B4-BE49-F238E27FC236}">
                  <a16:creationId xmlns:a16="http://schemas.microsoft.com/office/drawing/2014/main" id="{A906847A-3E16-65E7-C92A-388F1B251505}"/>
                </a:ext>
              </a:extLst>
            </p:cNvPr>
            <p:cNvSpPr/>
            <p:nvPr/>
          </p:nvSpPr>
          <p:spPr>
            <a:xfrm>
              <a:off x="2097025" y="542250"/>
              <a:ext cx="789000" cy="2850625"/>
            </a:xfrm>
            <a:custGeom>
              <a:avLst/>
              <a:gdLst/>
              <a:ahLst/>
              <a:cxnLst/>
              <a:rect l="l" t="t" r="r" b="b"/>
              <a:pathLst>
                <a:path w="31560" h="114025" extrusionOk="0">
                  <a:moveTo>
                    <a:pt x="31247" y="0"/>
                  </a:moveTo>
                  <a:lnTo>
                    <a:pt x="31027" y="31"/>
                  </a:lnTo>
                  <a:lnTo>
                    <a:pt x="30464" y="125"/>
                  </a:lnTo>
                  <a:lnTo>
                    <a:pt x="29744" y="344"/>
                  </a:lnTo>
                  <a:lnTo>
                    <a:pt x="28867" y="595"/>
                  </a:lnTo>
                  <a:lnTo>
                    <a:pt x="27709" y="1002"/>
                  </a:lnTo>
                  <a:lnTo>
                    <a:pt x="26394" y="1471"/>
                  </a:lnTo>
                  <a:lnTo>
                    <a:pt x="23545" y="2567"/>
                  </a:lnTo>
                  <a:lnTo>
                    <a:pt x="20633" y="3757"/>
                  </a:lnTo>
                  <a:lnTo>
                    <a:pt x="17972" y="4884"/>
                  </a:lnTo>
                  <a:lnTo>
                    <a:pt x="17158" y="5260"/>
                  </a:lnTo>
                  <a:lnTo>
                    <a:pt x="16406" y="5667"/>
                  </a:lnTo>
                  <a:lnTo>
                    <a:pt x="15655" y="6074"/>
                  </a:lnTo>
                  <a:lnTo>
                    <a:pt x="14966" y="6543"/>
                  </a:lnTo>
                  <a:lnTo>
                    <a:pt x="14309" y="6982"/>
                  </a:lnTo>
                  <a:lnTo>
                    <a:pt x="13651" y="7483"/>
                  </a:lnTo>
                  <a:lnTo>
                    <a:pt x="13057" y="7984"/>
                  </a:lnTo>
                  <a:lnTo>
                    <a:pt x="12493" y="8516"/>
                  </a:lnTo>
                  <a:lnTo>
                    <a:pt x="11961" y="9048"/>
                  </a:lnTo>
                  <a:lnTo>
                    <a:pt x="11428" y="9612"/>
                  </a:lnTo>
                  <a:lnTo>
                    <a:pt x="10959" y="10175"/>
                  </a:lnTo>
                  <a:lnTo>
                    <a:pt x="10489" y="10770"/>
                  </a:lnTo>
                  <a:lnTo>
                    <a:pt x="10051" y="11365"/>
                  </a:lnTo>
                  <a:lnTo>
                    <a:pt x="9644" y="11960"/>
                  </a:lnTo>
                  <a:lnTo>
                    <a:pt x="9268" y="12555"/>
                  </a:lnTo>
                  <a:lnTo>
                    <a:pt x="8893" y="13181"/>
                  </a:lnTo>
                  <a:lnTo>
                    <a:pt x="8392" y="14120"/>
                  </a:lnTo>
                  <a:lnTo>
                    <a:pt x="7922" y="15059"/>
                  </a:lnTo>
                  <a:lnTo>
                    <a:pt x="7515" y="16030"/>
                  </a:lnTo>
                  <a:lnTo>
                    <a:pt x="7139" y="16969"/>
                  </a:lnTo>
                  <a:lnTo>
                    <a:pt x="6826" y="17752"/>
                  </a:lnTo>
                  <a:lnTo>
                    <a:pt x="6482" y="18534"/>
                  </a:lnTo>
                  <a:lnTo>
                    <a:pt x="5793" y="20069"/>
                  </a:lnTo>
                  <a:lnTo>
                    <a:pt x="5104" y="21634"/>
                  </a:lnTo>
                  <a:lnTo>
                    <a:pt x="4760" y="22417"/>
                  </a:lnTo>
                  <a:lnTo>
                    <a:pt x="4415" y="23231"/>
                  </a:lnTo>
                  <a:lnTo>
                    <a:pt x="4102" y="24076"/>
                  </a:lnTo>
                  <a:lnTo>
                    <a:pt x="3789" y="24953"/>
                  </a:lnTo>
                  <a:lnTo>
                    <a:pt x="3508" y="25861"/>
                  </a:lnTo>
                  <a:lnTo>
                    <a:pt x="3257" y="26831"/>
                  </a:lnTo>
                  <a:lnTo>
                    <a:pt x="3038" y="27864"/>
                  </a:lnTo>
                  <a:lnTo>
                    <a:pt x="2819" y="28960"/>
                  </a:lnTo>
                  <a:lnTo>
                    <a:pt x="2693" y="30150"/>
                  </a:lnTo>
                  <a:lnTo>
                    <a:pt x="2568" y="31402"/>
                  </a:lnTo>
                  <a:lnTo>
                    <a:pt x="2412" y="34126"/>
                  </a:lnTo>
                  <a:lnTo>
                    <a:pt x="2224" y="37945"/>
                  </a:lnTo>
                  <a:lnTo>
                    <a:pt x="1786" y="48121"/>
                  </a:lnTo>
                  <a:lnTo>
                    <a:pt x="1285" y="60581"/>
                  </a:lnTo>
                  <a:lnTo>
                    <a:pt x="784" y="74075"/>
                  </a:lnTo>
                  <a:lnTo>
                    <a:pt x="377" y="87193"/>
                  </a:lnTo>
                  <a:lnTo>
                    <a:pt x="220" y="93204"/>
                  </a:lnTo>
                  <a:lnTo>
                    <a:pt x="95" y="98652"/>
                  </a:lnTo>
                  <a:lnTo>
                    <a:pt x="32" y="103317"/>
                  </a:lnTo>
                  <a:lnTo>
                    <a:pt x="1" y="107105"/>
                  </a:lnTo>
                  <a:lnTo>
                    <a:pt x="1" y="108577"/>
                  </a:lnTo>
                  <a:lnTo>
                    <a:pt x="32" y="109798"/>
                  </a:lnTo>
                  <a:lnTo>
                    <a:pt x="95" y="110674"/>
                  </a:lnTo>
                  <a:lnTo>
                    <a:pt x="158" y="111207"/>
                  </a:lnTo>
                  <a:lnTo>
                    <a:pt x="283" y="111739"/>
                  </a:lnTo>
                  <a:lnTo>
                    <a:pt x="439" y="112208"/>
                  </a:lnTo>
                  <a:lnTo>
                    <a:pt x="627" y="112615"/>
                  </a:lnTo>
                  <a:lnTo>
                    <a:pt x="846" y="112960"/>
                  </a:lnTo>
                  <a:lnTo>
                    <a:pt x="1097" y="113273"/>
                  </a:lnTo>
                  <a:lnTo>
                    <a:pt x="1379" y="113492"/>
                  </a:lnTo>
                  <a:lnTo>
                    <a:pt x="1660" y="113680"/>
                  </a:lnTo>
                  <a:lnTo>
                    <a:pt x="1973" y="113836"/>
                  </a:lnTo>
                  <a:lnTo>
                    <a:pt x="2286" y="113930"/>
                  </a:lnTo>
                  <a:lnTo>
                    <a:pt x="2631" y="113993"/>
                  </a:lnTo>
                  <a:lnTo>
                    <a:pt x="2975" y="114024"/>
                  </a:lnTo>
                  <a:lnTo>
                    <a:pt x="3320" y="114024"/>
                  </a:lnTo>
                  <a:lnTo>
                    <a:pt x="3695" y="113962"/>
                  </a:lnTo>
                  <a:lnTo>
                    <a:pt x="4071" y="113899"/>
                  </a:lnTo>
                  <a:lnTo>
                    <a:pt x="4447" y="113836"/>
                  </a:lnTo>
                  <a:lnTo>
                    <a:pt x="4791" y="113711"/>
                  </a:lnTo>
                  <a:lnTo>
                    <a:pt x="5543" y="113429"/>
                  </a:lnTo>
                  <a:lnTo>
                    <a:pt x="6231" y="113116"/>
                  </a:lnTo>
                  <a:lnTo>
                    <a:pt x="6857" y="112803"/>
                  </a:lnTo>
                  <a:lnTo>
                    <a:pt x="7421" y="112459"/>
                  </a:lnTo>
                  <a:lnTo>
                    <a:pt x="8266" y="111927"/>
                  </a:lnTo>
                  <a:lnTo>
                    <a:pt x="8579" y="111676"/>
                  </a:lnTo>
                  <a:lnTo>
                    <a:pt x="8486" y="108921"/>
                  </a:lnTo>
                  <a:lnTo>
                    <a:pt x="8329" y="101344"/>
                  </a:lnTo>
                  <a:lnTo>
                    <a:pt x="8235" y="96116"/>
                  </a:lnTo>
                  <a:lnTo>
                    <a:pt x="8141" y="90105"/>
                  </a:lnTo>
                  <a:lnTo>
                    <a:pt x="8079" y="83436"/>
                  </a:lnTo>
                  <a:lnTo>
                    <a:pt x="8016" y="76298"/>
                  </a:lnTo>
                  <a:lnTo>
                    <a:pt x="8047" y="68784"/>
                  </a:lnTo>
                  <a:lnTo>
                    <a:pt x="8110" y="61020"/>
                  </a:lnTo>
                  <a:lnTo>
                    <a:pt x="8235" y="53193"/>
                  </a:lnTo>
                  <a:lnTo>
                    <a:pt x="8329" y="49310"/>
                  </a:lnTo>
                  <a:lnTo>
                    <a:pt x="8423" y="45428"/>
                  </a:lnTo>
                  <a:lnTo>
                    <a:pt x="8548" y="41609"/>
                  </a:lnTo>
                  <a:lnTo>
                    <a:pt x="8705" y="37852"/>
                  </a:lnTo>
                  <a:lnTo>
                    <a:pt x="8893" y="34188"/>
                  </a:lnTo>
                  <a:lnTo>
                    <a:pt x="9112" y="30619"/>
                  </a:lnTo>
                  <a:lnTo>
                    <a:pt x="9331" y="27175"/>
                  </a:lnTo>
                  <a:lnTo>
                    <a:pt x="9613" y="23857"/>
                  </a:lnTo>
                  <a:lnTo>
                    <a:pt x="9894" y="20695"/>
                  </a:lnTo>
                  <a:lnTo>
                    <a:pt x="10239" y="17689"/>
                  </a:lnTo>
                  <a:lnTo>
                    <a:pt x="10333" y="17345"/>
                  </a:lnTo>
                  <a:lnTo>
                    <a:pt x="10489" y="16969"/>
                  </a:lnTo>
                  <a:lnTo>
                    <a:pt x="10740" y="16531"/>
                  </a:lnTo>
                  <a:lnTo>
                    <a:pt x="11053" y="16092"/>
                  </a:lnTo>
                  <a:lnTo>
                    <a:pt x="11428" y="15623"/>
                  </a:lnTo>
                  <a:lnTo>
                    <a:pt x="11867" y="15122"/>
                  </a:lnTo>
                  <a:lnTo>
                    <a:pt x="12368" y="14590"/>
                  </a:lnTo>
                  <a:lnTo>
                    <a:pt x="12931" y="14057"/>
                  </a:lnTo>
                  <a:lnTo>
                    <a:pt x="13557" y="13494"/>
                  </a:lnTo>
                  <a:lnTo>
                    <a:pt x="14215" y="12899"/>
                  </a:lnTo>
                  <a:lnTo>
                    <a:pt x="15624" y="11709"/>
                  </a:lnTo>
                  <a:lnTo>
                    <a:pt x="17189" y="10488"/>
                  </a:lnTo>
                  <a:lnTo>
                    <a:pt x="18817" y="9267"/>
                  </a:lnTo>
                  <a:lnTo>
                    <a:pt x="20477" y="8015"/>
                  </a:lnTo>
                  <a:lnTo>
                    <a:pt x="22199" y="6825"/>
                  </a:lnTo>
                  <a:lnTo>
                    <a:pt x="25455" y="4540"/>
                  </a:lnTo>
                  <a:lnTo>
                    <a:pt x="30464" y="1096"/>
                  </a:lnTo>
                  <a:lnTo>
                    <a:pt x="31121" y="626"/>
                  </a:lnTo>
                  <a:lnTo>
                    <a:pt x="31309" y="470"/>
                  </a:lnTo>
                  <a:lnTo>
                    <a:pt x="31466" y="313"/>
                  </a:lnTo>
                  <a:lnTo>
                    <a:pt x="31528" y="188"/>
                  </a:lnTo>
                  <a:lnTo>
                    <a:pt x="31560" y="94"/>
                  </a:lnTo>
                  <a:lnTo>
                    <a:pt x="31497" y="31"/>
                  </a:lnTo>
                  <a:lnTo>
                    <a:pt x="31403" y="0"/>
                  </a:lnTo>
                  <a:close/>
                </a:path>
              </a:pathLst>
            </a:custGeom>
            <a:solidFill>
              <a:srgbClr val="6DD2C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4" name="Google Shape;755;p138">
              <a:extLst>
                <a:ext uri="{FF2B5EF4-FFF2-40B4-BE49-F238E27FC236}">
                  <a16:creationId xmlns:a16="http://schemas.microsoft.com/office/drawing/2014/main" id="{6A7F0C27-FFA3-CEEE-29BB-01B46FD517BD}"/>
                </a:ext>
              </a:extLst>
            </p:cNvPr>
            <p:cNvSpPr/>
            <p:nvPr/>
          </p:nvSpPr>
          <p:spPr>
            <a:xfrm>
              <a:off x="2319325" y="557100"/>
              <a:ext cx="499400" cy="314675"/>
            </a:xfrm>
            <a:custGeom>
              <a:avLst/>
              <a:gdLst/>
              <a:ahLst/>
              <a:cxnLst/>
              <a:rect l="l" t="t" r="r" b="b"/>
              <a:pathLst>
                <a:path w="19976" h="12587" extrusionOk="0">
                  <a:moveTo>
                    <a:pt x="19975" y="1"/>
                  </a:moveTo>
                  <a:lnTo>
                    <a:pt x="18817" y="408"/>
                  </a:lnTo>
                  <a:lnTo>
                    <a:pt x="17502" y="877"/>
                  </a:lnTo>
                  <a:lnTo>
                    <a:pt x="14653" y="1973"/>
                  </a:lnTo>
                  <a:lnTo>
                    <a:pt x="11741" y="3163"/>
                  </a:lnTo>
                  <a:lnTo>
                    <a:pt x="9080" y="4290"/>
                  </a:lnTo>
                  <a:lnTo>
                    <a:pt x="8266" y="4666"/>
                  </a:lnTo>
                  <a:lnTo>
                    <a:pt x="7514" y="5073"/>
                  </a:lnTo>
                  <a:lnTo>
                    <a:pt x="6763" y="5480"/>
                  </a:lnTo>
                  <a:lnTo>
                    <a:pt x="6074" y="5949"/>
                  </a:lnTo>
                  <a:lnTo>
                    <a:pt x="5417" y="6388"/>
                  </a:lnTo>
                  <a:lnTo>
                    <a:pt x="4759" y="6889"/>
                  </a:lnTo>
                  <a:lnTo>
                    <a:pt x="4165" y="7390"/>
                  </a:lnTo>
                  <a:lnTo>
                    <a:pt x="3601" y="7922"/>
                  </a:lnTo>
                  <a:lnTo>
                    <a:pt x="3069" y="8454"/>
                  </a:lnTo>
                  <a:lnTo>
                    <a:pt x="2536" y="9018"/>
                  </a:lnTo>
                  <a:lnTo>
                    <a:pt x="2067" y="9581"/>
                  </a:lnTo>
                  <a:lnTo>
                    <a:pt x="1597" y="10176"/>
                  </a:lnTo>
                  <a:lnTo>
                    <a:pt x="1159" y="10771"/>
                  </a:lnTo>
                  <a:lnTo>
                    <a:pt x="752" y="11366"/>
                  </a:lnTo>
                  <a:lnTo>
                    <a:pt x="376" y="11961"/>
                  </a:lnTo>
                  <a:lnTo>
                    <a:pt x="1" y="12587"/>
                  </a:lnTo>
                  <a:lnTo>
                    <a:pt x="1" y="12587"/>
                  </a:lnTo>
                  <a:lnTo>
                    <a:pt x="1096" y="12148"/>
                  </a:lnTo>
                  <a:lnTo>
                    <a:pt x="2255" y="11647"/>
                  </a:lnTo>
                  <a:lnTo>
                    <a:pt x="3444" y="11084"/>
                  </a:lnTo>
                  <a:lnTo>
                    <a:pt x="4665" y="10426"/>
                  </a:lnTo>
                  <a:lnTo>
                    <a:pt x="5918" y="9738"/>
                  </a:lnTo>
                  <a:lnTo>
                    <a:pt x="7170" y="9018"/>
                  </a:lnTo>
                  <a:lnTo>
                    <a:pt x="8422" y="8266"/>
                  </a:lnTo>
                  <a:lnTo>
                    <a:pt x="9643" y="7484"/>
                  </a:lnTo>
                  <a:lnTo>
                    <a:pt x="11960" y="5981"/>
                  </a:lnTo>
                  <a:lnTo>
                    <a:pt x="13995" y="4572"/>
                  </a:lnTo>
                  <a:lnTo>
                    <a:pt x="15717" y="3382"/>
                  </a:lnTo>
                  <a:lnTo>
                    <a:pt x="16938" y="2506"/>
                  </a:lnTo>
                  <a:lnTo>
                    <a:pt x="17815" y="1879"/>
                  </a:lnTo>
                  <a:lnTo>
                    <a:pt x="18629" y="1284"/>
                  </a:lnTo>
                  <a:lnTo>
                    <a:pt x="19005" y="971"/>
                  </a:lnTo>
                  <a:lnTo>
                    <a:pt x="19349" y="690"/>
                  </a:lnTo>
                  <a:lnTo>
                    <a:pt x="19662" y="345"/>
                  </a:lnTo>
                  <a:lnTo>
                    <a:pt x="19975" y="1"/>
                  </a:lnTo>
                  <a:close/>
                </a:path>
              </a:pathLst>
            </a:custGeom>
            <a:solidFill>
              <a:srgbClr val="6DD2CD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5" name="Google Shape;756;p138">
              <a:extLst>
                <a:ext uri="{FF2B5EF4-FFF2-40B4-BE49-F238E27FC236}">
                  <a16:creationId xmlns:a16="http://schemas.microsoft.com/office/drawing/2014/main" id="{6251550A-8B7A-1D4D-2BBF-F5112D96E3D7}"/>
                </a:ext>
              </a:extLst>
            </p:cNvPr>
            <p:cNvSpPr/>
            <p:nvPr/>
          </p:nvSpPr>
          <p:spPr>
            <a:xfrm>
              <a:off x="1301800" y="3108725"/>
              <a:ext cx="1790875" cy="403125"/>
            </a:xfrm>
            <a:custGeom>
              <a:avLst/>
              <a:gdLst/>
              <a:ahLst/>
              <a:cxnLst/>
              <a:rect l="l" t="t" r="r" b="b"/>
              <a:pathLst>
                <a:path w="71635" h="16125" extrusionOk="0">
                  <a:moveTo>
                    <a:pt x="28930" y="0"/>
                  </a:moveTo>
                  <a:lnTo>
                    <a:pt x="28836" y="314"/>
                  </a:lnTo>
                  <a:lnTo>
                    <a:pt x="28585" y="1096"/>
                  </a:lnTo>
                  <a:lnTo>
                    <a:pt x="28397" y="1597"/>
                  </a:lnTo>
                  <a:lnTo>
                    <a:pt x="28178" y="2129"/>
                  </a:lnTo>
                  <a:lnTo>
                    <a:pt x="27896" y="2662"/>
                  </a:lnTo>
                  <a:lnTo>
                    <a:pt x="27615" y="3163"/>
                  </a:lnTo>
                  <a:lnTo>
                    <a:pt x="27270" y="3632"/>
                  </a:lnTo>
                  <a:lnTo>
                    <a:pt x="27114" y="3820"/>
                  </a:lnTo>
                  <a:lnTo>
                    <a:pt x="26926" y="3977"/>
                  </a:lnTo>
                  <a:lnTo>
                    <a:pt x="26738" y="4133"/>
                  </a:lnTo>
                  <a:lnTo>
                    <a:pt x="26519" y="4258"/>
                  </a:lnTo>
                  <a:lnTo>
                    <a:pt x="26331" y="4321"/>
                  </a:lnTo>
                  <a:lnTo>
                    <a:pt x="26112" y="4384"/>
                  </a:lnTo>
                  <a:lnTo>
                    <a:pt x="25893" y="4384"/>
                  </a:lnTo>
                  <a:lnTo>
                    <a:pt x="25674" y="4321"/>
                  </a:lnTo>
                  <a:lnTo>
                    <a:pt x="25423" y="4227"/>
                  </a:lnTo>
                  <a:lnTo>
                    <a:pt x="25204" y="4070"/>
                  </a:lnTo>
                  <a:lnTo>
                    <a:pt x="24953" y="3883"/>
                  </a:lnTo>
                  <a:lnTo>
                    <a:pt x="24703" y="3601"/>
                  </a:lnTo>
                  <a:lnTo>
                    <a:pt x="24453" y="3288"/>
                  </a:lnTo>
                  <a:lnTo>
                    <a:pt x="24171" y="2881"/>
                  </a:lnTo>
                  <a:lnTo>
                    <a:pt x="24046" y="2693"/>
                  </a:lnTo>
                  <a:lnTo>
                    <a:pt x="23889" y="2536"/>
                  </a:lnTo>
                  <a:lnTo>
                    <a:pt x="23701" y="2474"/>
                  </a:lnTo>
                  <a:lnTo>
                    <a:pt x="23513" y="2411"/>
                  </a:lnTo>
                  <a:lnTo>
                    <a:pt x="23294" y="2442"/>
                  </a:lnTo>
                  <a:lnTo>
                    <a:pt x="23075" y="2474"/>
                  </a:lnTo>
                  <a:lnTo>
                    <a:pt x="22856" y="2568"/>
                  </a:lnTo>
                  <a:lnTo>
                    <a:pt x="22605" y="2693"/>
                  </a:lnTo>
                  <a:lnTo>
                    <a:pt x="22386" y="2818"/>
                  </a:lnTo>
                  <a:lnTo>
                    <a:pt x="22136" y="3006"/>
                  </a:lnTo>
                  <a:lnTo>
                    <a:pt x="21604" y="3413"/>
                  </a:lnTo>
                  <a:lnTo>
                    <a:pt x="21103" y="3883"/>
                  </a:lnTo>
                  <a:lnTo>
                    <a:pt x="20602" y="4384"/>
                  </a:lnTo>
                  <a:lnTo>
                    <a:pt x="19631" y="5323"/>
                  </a:lnTo>
                  <a:lnTo>
                    <a:pt x="19224" y="5730"/>
                  </a:lnTo>
                  <a:lnTo>
                    <a:pt x="18880" y="6074"/>
                  </a:lnTo>
                  <a:lnTo>
                    <a:pt x="18598" y="6262"/>
                  </a:lnTo>
                  <a:lnTo>
                    <a:pt x="18473" y="6293"/>
                  </a:lnTo>
                  <a:lnTo>
                    <a:pt x="18379" y="6325"/>
                  </a:lnTo>
                  <a:lnTo>
                    <a:pt x="18316" y="6293"/>
                  </a:lnTo>
                  <a:lnTo>
                    <a:pt x="18285" y="6199"/>
                  </a:lnTo>
                  <a:lnTo>
                    <a:pt x="18254" y="6043"/>
                  </a:lnTo>
                  <a:lnTo>
                    <a:pt x="18254" y="5855"/>
                  </a:lnTo>
                  <a:lnTo>
                    <a:pt x="18316" y="5417"/>
                  </a:lnTo>
                  <a:lnTo>
                    <a:pt x="18316" y="5010"/>
                  </a:lnTo>
                  <a:lnTo>
                    <a:pt x="18316" y="4603"/>
                  </a:lnTo>
                  <a:lnTo>
                    <a:pt x="18254" y="4227"/>
                  </a:lnTo>
                  <a:lnTo>
                    <a:pt x="18160" y="3507"/>
                  </a:lnTo>
                  <a:lnTo>
                    <a:pt x="18003" y="2912"/>
                  </a:lnTo>
                  <a:lnTo>
                    <a:pt x="17847" y="2411"/>
                  </a:lnTo>
                  <a:lnTo>
                    <a:pt x="17690" y="2035"/>
                  </a:lnTo>
                  <a:lnTo>
                    <a:pt x="17533" y="1722"/>
                  </a:lnTo>
                  <a:lnTo>
                    <a:pt x="17377" y="1910"/>
                  </a:lnTo>
                  <a:lnTo>
                    <a:pt x="16907" y="2411"/>
                  </a:lnTo>
                  <a:lnTo>
                    <a:pt x="16594" y="2724"/>
                  </a:lnTo>
                  <a:lnTo>
                    <a:pt x="16219" y="3037"/>
                  </a:lnTo>
                  <a:lnTo>
                    <a:pt x="15812" y="3350"/>
                  </a:lnTo>
                  <a:lnTo>
                    <a:pt x="15373" y="3632"/>
                  </a:lnTo>
                  <a:lnTo>
                    <a:pt x="14935" y="3883"/>
                  </a:lnTo>
                  <a:lnTo>
                    <a:pt x="14684" y="3977"/>
                  </a:lnTo>
                  <a:lnTo>
                    <a:pt x="14434" y="4070"/>
                  </a:lnTo>
                  <a:lnTo>
                    <a:pt x="14215" y="4133"/>
                  </a:lnTo>
                  <a:lnTo>
                    <a:pt x="13964" y="4164"/>
                  </a:lnTo>
                  <a:lnTo>
                    <a:pt x="13463" y="4164"/>
                  </a:lnTo>
                  <a:lnTo>
                    <a:pt x="13244" y="4102"/>
                  </a:lnTo>
                  <a:lnTo>
                    <a:pt x="12994" y="4008"/>
                  </a:lnTo>
                  <a:lnTo>
                    <a:pt x="12775" y="3914"/>
                  </a:lnTo>
                  <a:lnTo>
                    <a:pt x="12524" y="3757"/>
                  </a:lnTo>
                  <a:lnTo>
                    <a:pt x="12305" y="3538"/>
                  </a:lnTo>
                  <a:lnTo>
                    <a:pt x="12086" y="3319"/>
                  </a:lnTo>
                  <a:lnTo>
                    <a:pt x="11898" y="3006"/>
                  </a:lnTo>
                  <a:lnTo>
                    <a:pt x="11679" y="2693"/>
                  </a:lnTo>
                  <a:lnTo>
                    <a:pt x="11397" y="3476"/>
                  </a:lnTo>
                  <a:lnTo>
                    <a:pt x="11084" y="4227"/>
                  </a:lnTo>
                  <a:lnTo>
                    <a:pt x="10896" y="4603"/>
                  </a:lnTo>
                  <a:lnTo>
                    <a:pt x="10708" y="4978"/>
                  </a:lnTo>
                  <a:lnTo>
                    <a:pt x="10489" y="5323"/>
                  </a:lnTo>
                  <a:lnTo>
                    <a:pt x="10301" y="5605"/>
                  </a:lnTo>
                  <a:lnTo>
                    <a:pt x="10082" y="5824"/>
                  </a:lnTo>
                  <a:lnTo>
                    <a:pt x="9957" y="5886"/>
                  </a:lnTo>
                  <a:lnTo>
                    <a:pt x="9863" y="5918"/>
                  </a:lnTo>
                  <a:lnTo>
                    <a:pt x="9738" y="5949"/>
                  </a:lnTo>
                  <a:lnTo>
                    <a:pt x="9644" y="5918"/>
                  </a:lnTo>
                  <a:lnTo>
                    <a:pt x="9550" y="5855"/>
                  </a:lnTo>
                  <a:lnTo>
                    <a:pt x="9425" y="5761"/>
                  </a:lnTo>
                  <a:lnTo>
                    <a:pt x="9331" y="5636"/>
                  </a:lnTo>
                  <a:lnTo>
                    <a:pt x="9237" y="5479"/>
                  </a:lnTo>
                  <a:lnTo>
                    <a:pt x="9143" y="5260"/>
                  </a:lnTo>
                  <a:lnTo>
                    <a:pt x="9080" y="4978"/>
                  </a:lnTo>
                  <a:lnTo>
                    <a:pt x="8955" y="4697"/>
                  </a:lnTo>
                  <a:lnTo>
                    <a:pt x="8830" y="4446"/>
                  </a:lnTo>
                  <a:lnTo>
                    <a:pt x="8642" y="4196"/>
                  </a:lnTo>
                  <a:lnTo>
                    <a:pt x="8423" y="3977"/>
                  </a:lnTo>
                  <a:lnTo>
                    <a:pt x="8172" y="3757"/>
                  </a:lnTo>
                  <a:lnTo>
                    <a:pt x="7922" y="3538"/>
                  </a:lnTo>
                  <a:lnTo>
                    <a:pt x="7609" y="3350"/>
                  </a:lnTo>
                  <a:lnTo>
                    <a:pt x="7296" y="3194"/>
                  </a:lnTo>
                  <a:lnTo>
                    <a:pt x="6951" y="3006"/>
                  </a:lnTo>
                  <a:lnTo>
                    <a:pt x="6576" y="2881"/>
                  </a:lnTo>
                  <a:lnTo>
                    <a:pt x="5824" y="2599"/>
                  </a:lnTo>
                  <a:lnTo>
                    <a:pt x="5010" y="2380"/>
                  </a:lnTo>
                  <a:lnTo>
                    <a:pt x="4196" y="2192"/>
                  </a:lnTo>
                  <a:lnTo>
                    <a:pt x="3413" y="2067"/>
                  </a:lnTo>
                  <a:lnTo>
                    <a:pt x="2631" y="1942"/>
                  </a:lnTo>
                  <a:lnTo>
                    <a:pt x="1284" y="1816"/>
                  </a:lnTo>
                  <a:lnTo>
                    <a:pt x="345" y="1754"/>
                  </a:lnTo>
                  <a:lnTo>
                    <a:pt x="1" y="1722"/>
                  </a:lnTo>
                  <a:lnTo>
                    <a:pt x="189" y="1754"/>
                  </a:lnTo>
                  <a:lnTo>
                    <a:pt x="439" y="1848"/>
                  </a:lnTo>
                  <a:lnTo>
                    <a:pt x="784" y="1973"/>
                  </a:lnTo>
                  <a:lnTo>
                    <a:pt x="1191" y="2161"/>
                  </a:lnTo>
                  <a:lnTo>
                    <a:pt x="1691" y="2411"/>
                  </a:lnTo>
                  <a:lnTo>
                    <a:pt x="2224" y="2756"/>
                  </a:lnTo>
                  <a:lnTo>
                    <a:pt x="2850" y="3194"/>
                  </a:lnTo>
                  <a:lnTo>
                    <a:pt x="3507" y="3757"/>
                  </a:lnTo>
                  <a:lnTo>
                    <a:pt x="4227" y="4415"/>
                  </a:lnTo>
                  <a:lnTo>
                    <a:pt x="4979" y="5229"/>
                  </a:lnTo>
                  <a:lnTo>
                    <a:pt x="5355" y="5699"/>
                  </a:lnTo>
                  <a:lnTo>
                    <a:pt x="5762" y="6199"/>
                  </a:lnTo>
                  <a:lnTo>
                    <a:pt x="6169" y="6732"/>
                  </a:lnTo>
                  <a:lnTo>
                    <a:pt x="6576" y="7295"/>
                  </a:lnTo>
                  <a:lnTo>
                    <a:pt x="6983" y="7921"/>
                  </a:lnTo>
                  <a:lnTo>
                    <a:pt x="7390" y="8579"/>
                  </a:lnTo>
                  <a:lnTo>
                    <a:pt x="7797" y="9299"/>
                  </a:lnTo>
                  <a:lnTo>
                    <a:pt x="8235" y="10050"/>
                  </a:lnTo>
                  <a:lnTo>
                    <a:pt x="8642" y="10864"/>
                  </a:lnTo>
                  <a:lnTo>
                    <a:pt x="9080" y="11710"/>
                  </a:lnTo>
                  <a:lnTo>
                    <a:pt x="11835" y="16124"/>
                  </a:lnTo>
                  <a:lnTo>
                    <a:pt x="39355" y="16124"/>
                  </a:lnTo>
                  <a:lnTo>
                    <a:pt x="55448" y="15185"/>
                  </a:lnTo>
                  <a:lnTo>
                    <a:pt x="55729" y="15122"/>
                  </a:lnTo>
                  <a:lnTo>
                    <a:pt x="56418" y="14934"/>
                  </a:lnTo>
                  <a:lnTo>
                    <a:pt x="57451" y="14590"/>
                  </a:lnTo>
                  <a:lnTo>
                    <a:pt x="58046" y="14371"/>
                  </a:lnTo>
                  <a:lnTo>
                    <a:pt x="58704" y="14120"/>
                  </a:lnTo>
                  <a:lnTo>
                    <a:pt x="59361" y="13839"/>
                  </a:lnTo>
                  <a:lnTo>
                    <a:pt x="60050" y="13494"/>
                  </a:lnTo>
                  <a:lnTo>
                    <a:pt x="60739" y="13150"/>
                  </a:lnTo>
                  <a:lnTo>
                    <a:pt x="61428" y="12743"/>
                  </a:lnTo>
                  <a:lnTo>
                    <a:pt x="62054" y="12305"/>
                  </a:lnTo>
                  <a:lnTo>
                    <a:pt x="62649" y="11835"/>
                  </a:lnTo>
                  <a:lnTo>
                    <a:pt x="63212" y="11303"/>
                  </a:lnTo>
                  <a:lnTo>
                    <a:pt x="63463" y="11052"/>
                  </a:lnTo>
                  <a:lnTo>
                    <a:pt x="63682" y="10770"/>
                  </a:lnTo>
                  <a:lnTo>
                    <a:pt x="63901" y="10489"/>
                  </a:lnTo>
                  <a:lnTo>
                    <a:pt x="64151" y="10269"/>
                  </a:lnTo>
                  <a:lnTo>
                    <a:pt x="64402" y="10082"/>
                  </a:lnTo>
                  <a:lnTo>
                    <a:pt x="64684" y="9956"/>
                  </a:lnTo>
                  <a:lnTo>
                    <a:pt x="64965" y="9862"/>
                  </a:lnTo>
                  <a:lnTo>
                    <a:pt x="65278" y="9800"/>
                  </a:lnTo>
                  <a:lnTo>
                    <a:pt x="65592" y="9769"/>
                  </a:lnTo>
                  <a:lnTo>
                    <a:pt x="65905" y="9769"/>
                  </a:lnTo>
                  <a:lnTo>
                    <a:pt x="66218" y="9800"/>
                  </a:lnTo>
                  <a:lnTo>
                    <a:pt x="66562" y="9831"/>
                  </a:lnTo>
                  <a:lnTo>
                    <a:pt x="66875" y="9925"/>
                  </a:lnTo>
                  <a:lnTo>
                    <a:pt x="67220" y="10019"/>
                  </a:lnTo>
                  <a:lnTo>
                    <a:pt x="67877" y="10269"/>
                  </a:lnTo>
                  <a:lnTo>
                    <a:pt x="68535" y="10551"/>
                  </a:lnTo>
                  <a:lnTo>
                    <a:pt x="69161" y="10896"/>
                  </a:lnTo>
                  <a:lnTo>
                    <a:pt x="69724" y="11240"/>
                  </a:lnTo>
                  <a:lnTo>
                    <a:pt x="70256" y="11616"/>
                  </a:lnTo>
                  <a:lnTo>
                    <a:pt x="70726" y="11929"/>
                  </a:lnTo>
                  <a:lnTo>
                    <a:pt x="71384" y="12461"/>
                  </a:lnTo>
                  <a:lnTo>
                    <a:pt x="71634" y="12680"/>
                  </a:lnTo>
                  <a:lnTo>
                    <a:pt x="71477" y="12398"/>
                  </a:lnTo>
                  <a:lnTo>
                    <a:pt x="71039" y="11647"/>
                  </a:lnTo>
                  <a:lnTo>
                    <a:pt x="70382" y="10583"/>
                  </a:lnTo>
                  <a:lnTo>
                    <a:pt x="70006" y="9988"/>
                  </a:lnTo>
                  <a:lnTo>
                    <a:pt x="69568" y="9362"/>
                  </a:lnTo>
                  <a:lnTo>
                    <a:pt x="69098" y="8735"/>
                  </a:lnTo>
                  <a:lnTo>
                    <a:pt x="68597" y="8141"/>
                  </a:lnTo>
                  <a:lnTo>
                    <a:pt x="68096" y="7546"/>
                  </a:lnTo>
                  <a:lnTo>
                    <a:pt x="67564" y="7045"/>
                  </a:lnTo>
                  <a:lnTo>
                    <a:pt x="67032" y="6575"/>
                  </a:lnTo>
                  <a:lnTo>
                    <a:pt x="66781" y="6387"/>
                  </a:lnTo>
                  <a:lnTo>
                    <a:pt x="66499" y="6231"/>
                  </a:lnTo>
                  <a:lnTo>
                    <a:pt x="66249" y="6106"/>
                  </a:lnTo>
                  <a:lnTo>
                    <a:pt x="65967" y="5980"/>
                  </a:lnTo>
                  <a:lnTo>
                    <a:pt x="65717" y="5886"/>
                  </a:lnTo>
                  <a:lnTo>
                    <a:pt x="65466" y="5855"/>
                  </a:lnTo>
                  <a:lnTo>
                    <a:pt x="64965" y="5855"/>
                  </a:lnTo>
                  <a:lnTo>
                    <a:pt x="64496" y="5918"/>
                  </a:lnTo>
                  <a:lnTo>
                    <a:pt x="64026" y="6012"/>
                  </a:lnTo>
                  <a:lnTo>
                    <a:pt x="63588" y="6199"/>
                  </a:lnTo>
                  <a:lnTo>
                    <a:pt x="63150" y="6419"/>
                  </a:lnTo>
                  <a:lnTo>
                    <a:pt x="62774" y="6669"/>
                  </a:lnTo>
                  <a:lnTo>
                    <a:pt x="62398" y="6951"/>
                  </a:lnTo>
                  <a:lnTo>
                    <a:pt x="62054" y="7233"/>
                  </a:lnTo>
                  <a:lnTo>
                    <a:pt x="61772" y="7514"/>
                  </a:lnTo>
                  <a:lnTo>
                    <a:pt x="61490" y="7827"/>
                  </a:lnTo>
                  <a:lnTo>
                    <a:pt x="61052" y="8328"/>
                  </a:lnTo>
                  <a:lnTo>
                    <a:pt x="60770" y="8673"/>
                  </a:lnTo>
                  <a:lnTo>
                    <a:pt x="60676" y="8829"/>
                  </a:lnTo>
                  <a:lnTo>
                    <a:pt x="60676" y="752"/>
                  </a:lnTo>
                  <a:lnTo>
                    <a:pt x="56794" y="7358"/>
                  </a:lnTo>
                  <a:lnTo>
                    <a:pt x="56637" y="6231"/>
                  </a:lnTo>
                  <a:lnTo>
                    <a:pt x="56481" y="5166"/>
                  </a:lnTo>
                  <a:lnTo>
                    <a:pt x="56262" y="3977"/>
                  </a:lnTo>
                  <a:lnTo>
                    <a:pt x="56043" y="2881"/>
                  </a:lnTo>
                  <a:lnTo>
                    <a:pt x="55917" y="2442"/>
                  </a:lnTo>
                  <a:lnTo>
                    <a:pt x="55823" y="2129"/>
                  </a:lnTo>
                  <a:lnTo>
                    <a:pt x="55729" y="1910"/>
                  </a:lnTo>
                  <a:lnTo>
                    <a:pt x="55667" y="1848"/>
                  </a:lnTo>
                  <a:lnTo>
                    <a:pt x="55636" y="1848"/>
                  </a:lnTo>
                  <a:lnTo>
                    <a:pt x="55573" y="1879"/>
                  </a:lnTo>
                  <a:lnTo>
                    <a:pt x="55542" y="1973"/>
                  </a:lnTo>
                  <a:lnTo>
                    <a:pt x="55448" y="2286"/>
                  </a:lnTo>
                  <a:lnTo>
                    <a:pt x="55416" y="2568"/>
                  </a:lnTo>
                  <a:lnTo>
                    <a:pt x="55291" y="2849"/>
                  </a:lnTo>
                  <a:lnTo>
                    <a:pt x="55166" y="3100"/>
                  </a:lnTo>
                  <a:lnTo>
                    <a:pt x="55009" y="3350"/>
                  </a:lnTo>
                  <a:lnTo>
                    <a:pt x="54728" y="3663"/>
                  </a:lnTo>
                  <a:lnTo>
                    <a:pt x="54415" y="3977"/>
                  </a:lnTo>
                  <a:lnTo>
                    <a:pt x="54070" y="4290"/>
                  </a:lnTo>
                  <a:lnTo>
                    <a:pt x="53694" y="4540"/>
                  </a:lnTo>
                  <a:lnTo>
                    <a:pt x="53319" y="4759"/>
                  </a:lnTo>
                  <a:lnTo>
                    <a:pt x="52880" y="4978"/>
                  </a:lnTo>
                  <a:lnTo>
                    <a:pt x="52473" y="5135"/>
                  </a:lnTo>
                  <a:lnTo>
                    <a:pt x="52066" y="5260"/>
                  </a:lnTo>
                  <a:lnTo>
                    <a:pt x="51659" y="5323"/>
                  </a:lnTo>
                  <a:lnTo>
                    <a:pt x="51284" y="5354"/>
                  </a:lnTo>
                  <a:lnTo>
                    <a:pt x="50939" y="5323"/>
                  </a:lnTo>
                  <a:lnTo>
                    <a:pt x="50595" y="5229"/>
                  </a:lnTo>
                  <a:lnTo>
                    <a:pt x="50470" y="5166"/>
                  </a:lnTo>
                  <a:lnTo>
                    <a:pt x="50313" y="5072"/>
                  </a:lnTo>
                  <a:lnTo>
                    <a:pt x="50188" y="4978"/>
                  </a:lnTo>
                  <a:lnTo>
                    <a:pt x="50094" y="4853"/>
                  </a:lnTo>
                  <a:lnTo>
                    <a:pt x="50000" y="4728"/>
                  </a:lnTo>
                  <a:lnTo>
                    <a:pt x="49906" y="4571"/>
                  </a:lnTo>
                  <a:lnTo>
                    <a:pt x="49844" y="4415"/>
                  </a:lnTo>
                  <a:lnTo>
                    <a:pt x="49812" y="4227"/>
                  </a:lnTo>
                  <a:lnTo>
                    <a:pt x="49750" y="3757"/>
                  </a:lnTo>
                  <a:lnTo>
                    <a:pt x="49718" y="3350"/>
                  </a:lnTo>
                  <a:lnTo>
                    <a:pt x="49750" y="3006"/>
                  </a:lnTo>
                  <a:lnTo>
                    <a:pt x="49781" y="2662"/>
                  </a:lnTo>
                  <a:lnTo>
                    <a:pt x="49844" y="2380"/>
                  </a:lnTo>
                  <a:lnTo>
                    <a:pt x="49937" y="2129"/>
                  </a:lnTo>
                  <a:lnTo>
                    <a:pt x="50094" y="1785"/>
                  </a:lnTo>
                  <a:lnTo>
                    <a:pt x="50251" y="1566"/>
                  </a:lnTo>
                  <a:lnTo>
                    <a:pt x="50282" y="1535"/>
                  </a:lnTo>
                  <a:lnTo>
                    <a:pt x="50157" y="1628"/>
                  </a:lnTo>
                  <a:lnTo>
                    <a:pt x="49812" y="1910"/>
                  </a:lnTo>
                  <a:lnTo>
                    <a:pt x="49249" y="2286"/>
                  </a:lnTo>
                  <a:lnTo>
                    <a:pt x="48560" y="2662"/>
                  </a:lnTo>
                  <a:lnTo>
                    <a:pt x="48184" y="2849"/>
                  </a:lnTo>
                  <a:lnTo>
                    <a:pt x="47840" y="2975"/>
                  </a:lnTo>
                  <a:lnTo>
                    <a:pt x="47464" y="3100"/>
                  </a:lnTo>
                  <a:lnTo>
                    <a:pt x="47151" y="3194"/>
                  </a:lnTo>
                  <a:lnTo>
                    <a:pt x="46838" y="3225"/>
                  </a:lnTo>
                  <a:lnTo>
                    <a:pt x="46587" y="3225"/>
                  </a:lnTo>
                  <a:lnTo>
                    <a:pt x="46462" y="3194"/>
                  </a:lnTo>
                  <a:lnTo>
                    <a:pt x="46368" y="3163"/>
                  </a:lnTo>
                  <a:lnTo>
                    <a:pt x="46306" y="3100"/>
                  </a:lnTo>
                  <a:lnTo>
                    <a:pt x="46212" y="3037"/>
                  </a:lnTo>
                  <a:lnTo>
                    <a:pt x="46180" y="2943"/>
                  </a:lnTo>
                  <a:lnTo>
                    <a:pt x="46149" y="2818"/>
                  </a:lnTo>
                  <a:lnTo>
                    <a:pt x="46149" y="2693"/>
                  </a:lnTo>
                  <a:lnTo>
                    <a:pt x="46180" y="2536"/>
                  </a:lnTo>
                  <a:lnTo>
                    <a:pt x="46274" y="2192"/>
                  </a:lnTo>
                  <a:lnTo>
                    <a:pt x="46494" y="1722"/>
                  </a:lnTo>
                  <a:lnTo>
                    <a:pt x="47245" y="314"/>
                  </a:lnTo>
                  <a:lnTo>
                    <a:pt x="47339" y="126"/>
                  </a:lnTo>
                  <a:lnTo>
                    <a:pt x="47370" y="32"/>
                  </a:lnTo>
                  <a:lnTo>
                    <a:pt x="47339" y="0"/>
                  </a:lnTo>
                  <a:lnTo>
                    <a:pt x="47308" y="0"/>
                  </a:lnTo>
                  <a:lnTo>
                    <a:pt x="47214" y="32"/>
                  </a:lnTo>
                  <a:lnTo>
                    <a:pt x="46744" y="282"/>
                  </a:lnTo>
                  <a:lnTo>
                    <a:pt x="45961" y="783"/>
                  </a:lnTo>
                  <a:lnTo>
                    <a:pt x="44803" y="1535"/>
                  </a:lnTo>
                  <a:lnTo>
                    <a:pt x="43206" y="2505"/>
                  </a:lnTo>
                  <a:lnTo>
                    <a:pt x="42392" y="2975"/>
                  </a:lnTo>
                  <a:lnTo>
                    <a:pt x="41766" y="3413"/>
                  </a:lnTo>
                  <a:lnTo>
                    <a:pt x="41265" y="3757"/>
                  </a:lnTo>
                  <a:lnTo>
                    <a:pt x="40921" y="4008"/>
                  </a:lnTo>
                  <a:lnTo>
                    <a:pt x="40866" y="4063"/>
                  </a:lnTo>
                  <a:lnTo>
                    <a:pt x="40866" y="4063"/>
                  </a:lnTo>
                  <a:lnTo>
                    <a:pt x="40889" y="3945"/>
                  </a:lnTo>
                  <a:lnTo>
                    <a:pt x="40921" y="3726"/>
                  </a:lnTo>
                  <a:lnTo>
                    <a:pt x="40858" y="3507"/>
                  </a:lnTo>
                  <a:lnTo>
                    <a:pt x="40795" y="3382"/>
                  </a:lnTo>
                  <a:lnTo>
                    <a:pt x="40702" y="3256"/>
                  </a:lnTo>
                  <a:lnTo>
                    <a:pt x="40514" y="3006"/>
                  </a:lnTo>
                  <a:lnTo>
                    <a:pt x="40388" y="2724"/>
                  </a:lnTo>
                  <a:lnTo>
                    <a:pt x="40263" y="2442"/>
                  </a:lnTo>
                  <a:lnTo>
                    <a:pt x="40169" y="2161"/>
                  </a:lnTo>
                  <a:lnTo>
                    <a:pt x="40044" y="1628"/>
                  </a:lnTo>
                  <a:lnTo>
                    <a:pt x="39950" y="1221"/>
                  </a:lnTo>
                  <a:lnTo>
                    <a:pt x="39919" y="1065"/>
                  </a:lnTo>
                  <a:lnTo>
                    <a:pt x="39888" y="971"/>
                  </a:lnTo>
                  <a:lnTo>
                    <a:pt x="39825" y="940"/>
                  </a:lnTo>
                  <a:lnTo>
                    <a:pt x="39762" y="971"/>
                  </a:lnTo>
                  <a:lnTo>
                    <a:pt x="39700" y="1065"/>
                  </a:lnTo>
                  <a:lnTo>
                    <a:pt x="39606" y="1253"/>
                  </a:lnTo>
                  <a:lnTo>
                    <a:pt x="39355" y="1910"/>
                  </a:lnTo>
                  <a:lnTo>
                    <a:pt x="39167" y="2317"/>
                  </a:lnTo>
                  <a:lnTo>
                    <a:pt x="39011" y="2724"/>
                  </a:lnTo>
                  <a:lnTo>
                    <a:pt x="38823" y="3069"/>
                  </a:lnTo>
                  <a:lnTo>
                    <a:pt x="38635" y="3382"/>
                  </a:lnTo>
                  <a:lnTo>
                    <a:pt x="38447" y="3632"/>
                  </a:lnTo>
                  <a:lnTo>
                    <a:pt x="38228" y="3883"/>
                  </a:lnTo>
                  <a:lnTo>
                    <a:pt x="38040" y="4070"/>
                  </a:lnTo>
                  <a:lnTo>
                    <a:pt x="37852" y="4227"/>
                  </a:lnTo>
                  <a:lnTo>
                    <a:pt x="37665" y="4321"/>
                  </a:lnTo>
                  <a:lnTo>
                    <a:pt x="37477" y="4384"/>
                  </a:lnTo>
                  <a:lnTo>
                    <a:pt x="37289" y="4384"/>
                  </a:lnTo>
                  <a:lnTo>
                    <a:pt x="37101" y="4352"/>
                  </a:lnTo>
                  <a:lnTo>
                    <a:pt x="36945" y="4258"/>
                  </a:lnTo>
                  <a:lnTo>
                    <a:pt x="36788" y="4102"/>
                  </a:lnTo>
                  <a:lnTo>
                    <a:pt x="36663" y="3914"/>
                  </a:lnTo>
                  <a:lnTo>
                    <a:pt x="36538" y="3632"/>
                  </a:lnTo>
                  <a:lnTo>
                    <a:pt x="36318" y="3100"/>
                  </a:lnTo>
                  <a:lnTo>
                    <a:pt x="36162" y="2630"/>
                  </a:lnTo>
                  <a:lnTo>
                    <a:pt x="36005" y="1973"/>
                  </a:lnTo>
                  <a:lnTo>
                    <a:pt x="35943" y="1816"/>
                  </a:lnTo>
                  <a:lnTo>
                    <a:pt x="35911" y="1754"/>
                  </a:lnTo>
                  <a:lnTo>
                    <a:pt x="35849" y="1722"/>
                  </a:lnTo>
                  <a:lnTo>
                    <a:pt x="35817" y="1722"/>
                  </a:lnTo>
                  <a:lnTo>
                    <a:pt x="35755" y="1754"/>
                  </a:lnTo>
                  <a:lnTo>
                    <a:pt x="35630" y="1910"/>
                  </a:lnTo>
                  <a:lnTo>
                    <a:pt x="35504" y="2035"/>
                  </a:lnTo>
                  <a:lnTo>
                    <a:pt x="35285" y="2192"/>
                  </a:lnTo>
                  <a:lnTo>
                    <a:pt x="34659" y="2568"/>
                  </a:lnTo>
                  <a:lnTo>
                    <a:pt x="33814" y="2975"/>
                  </a:lnTo>
                  <a:lnTo>
                    <a:pt x="32843" y="3350"/>
                  </a:lnTo>
                  <a:lnTo>
                    <a:pt x="32342" y="3538"/>
                  </a:lnTo>
                  <a:lnTo>
                    <a:pt x="31873" y="3663"/>
                  </a:lnTo>
                  <a:lnTo>
                    <a:pt x="31403" y="3789"/>
                  </a:lnTo>
                  <a:lnTo>
                    <a:pt x="30965" y="3851"/>
                  </a:lnTo>
                  <a:lnTo>
                    <a:pt x="30589" y="3883"/>
                  </a:lnTo>
                  <a:lnTo>
                    <a:pt x="30276" y="3883"/>
                  </a:lnTo>
                  <a:lnTo>
                    <a:pt x="30151" y="3851"/>
                  </a:lnTo>
                  <a:lnTo>
                    <a:pt x="30025" y="3789"/>
                  </a:lnTo>
                  <a:lnTo>
                    <a:pt x="29932" y="3726"/>
                  </a:lnTo>
                  <a:lnTo>
                    <a:pt x="29869" y="3632"/>
                  </a:lnTo>
                  <a:lnTo>
                    <a:pt x="29744" y="3444"/>
                  </a:lnTo>
                  <a:lnTo>
                    <a:pt x="29618" y="3225"/>
                  </a:lnTo>
                  <a:lnTo>
                    <a:pt x="29431" y="2662"/>
                  </a:lnTo>
                  <a:lnTo>
                    <a:pt x="29274" y="2067"/>
                  </a:lnTo>
                  <a:lnTo>
                    <a:pt x="29149" y="1472"/>
                  </a:lnTo>
                  <a:lnTo>
                    <a:pt x="28992" y="439"/>
                  </a:lnTo>
                  <a:lnTo>
                    <a:pt x="28930" y="0"/>
                  </a:lnTo>
                  <a:close/>
                </a:path>
              </a:pathLst>
            </a:custGeom>
            <a:solidFill>
              <a:srgbClr val="52938F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6" name="Google Shape;757;p138">
              <a:extLst>
                <a:ext uri="{FF2B5EF4-FFF2-40B4-BE49-F238E27FC236}">
                  <a16:creationId xmlns:a16="http://schemas.microsoft.com/office/drawing/2014/main" id="{26019BE5-3743-9394-7737-921C8E8F84E3}"/>
                </a:ext>
              </a:extLst>
            </p:cNvPr>
            <p:cNvSpPr/>
            <p:nvPr/>
          </p:nvSpPr>
          <p:spPr>
            <a:xfrm>
              <a:off x="2192525" y="3151775"/>
              <a:ext cx="93175" cy="66550"/>
            </a:xfrm>
            <a:custGeom>
              <a:avLst/>
              <a:gdLst/>
              <a:ahLst/>
              <a:cxnLst/>
              <a:rect l="l" t="t" r="r" b="b"/>
              <a:pathLst>
                <a:path w="3727" h="2662" extrusionOk="0">
                  <a:moveTo>
                    <a:pt x="188" y="0"/>
                  </a:moveTo>
                  <a:lnTo>
                    <a:pt x="126" y="32"/>
                  </a:lnTo>
                  <a:lnTo>
                    <a:pt x="1" y="188"/>
                  </a:lnTo>
                  <a:lnTo>
                    <a:pt x="351" y="188"/>
                  </a:lnTo>
                  <a:lnTo>
                    <a:pt x="314" y="94"/>
                  </a:lnTo>
                  <a:lnTo>
                    <a:pt x="282" y="32"/>
                  </a:lnTo>
                  <a:lnTo>
                    <a:pt x="220" y="0"/>
                  </a:lnTo>
                  <a:close/>
                  <a:moveTo>
                    <a:pt x="351" y="188"/>
                  </a:moveTo>
                  <a:lnTo>
                    <a:pt x="376" y="251"/>
                  </a:lnTo>
                  <a:lnTo>
                    <a:pt x="533" y="908"/>
                  </a:lnTo>
                  <a:lnTo>
                    <a:pt x="689" y="1378"/>
                  </a:lnTo>
                  <a:lnTo>
                    <a:pt x="909" y="1910"/>
                  </a:lnTo>
                  <a:lnTo>
                    <a:pt x="1034" y="2192"/>
                  </a:lnTo>
                  <a:lnTo>
                    <a:pt x="1159" y="2380"/>
                  </a:lnTo>
                  <a:lnTo>
                    <a:pt x="1316" y="2536"/>
                  </a:lnTo>
                  <a:lnTo>
                    <a:pt x="1472" y="2630"/>
                  </a:lnTo>
                  <a:lnTo>
                    <a:pt x="1660" y="2662"/>
                  </a:lnTo>
                  <a:lnTo>
                    <a:pt x="1848" y="2662"/>
                  </a:lnTo>
                  <a:lnTo>
                    <a:pt x="2036" y="2599"/>
                  </a:lnTo>
                  <a:lnTo>
                    <a:pt x="2223" y="2505"/>
                  </a:lnTo>
                  <a:lnTo>
                    <a:pt x="2411" y="2348"/>
                  </a:lnTo>
                  <a:lnTo>
                    <a:pt x="2599" y="2161"/>
                  </a:lnTo>
                  <a:lnTo>
                    <a:pt x="2818" y="1910"/>
                  </a:lnTo>
                  <a:lnTo>
                    <a:pt x="3006" y="1660"/>
                  </a:lnTo>
                  <a:lnTo>
                    <a:pt x="3194" y="1347"/>
                  </a:lnTo>
                  <a:lnTo>
                    <a:pt x="3382" y="1002"/>
                  </a:lnTo>
                  <a:lnTo>
                    <a:pt x="3538" y="595"/>
                  </a:lnTo>
                  <a:lnTo>
                    <a:pt x="3726" y="188"/>
                  </a:lnTo>
                  <a:close/>
                </a:path>
              </a:pathLst>
            </a:custGeom>
            <a:solidFill>
              <a:srgbClr val="327F6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7" name="Google Shape;758;p138">
              <a:extLst>
                <a:ext uri="{FF2B5EF4-FFF2-40B4-BE49-F238E27FC236}">
                  <a16:creationId xmlns:a16="http://schemas.microsoft.com/office/drawing/2014/main" id="{6646CF73-44C9-DEAC-A15F-826BF28BF547}"/>
                </a:ext>
              </a:extLst>
            </p:cNvPr>
            <p:cNvSpPr/>
            <p:nvPr/>
          </p:nvSpPr>
          <p:spPr>
            <a:xfrm>
              <a:off x="2192525" y="3151775"/>
              <a:ext cx="93175" cy="66550"/>
            </a:xfrm>
            <a:custGeom>
              <a:avLst/>
              <a:gdLst/>
              <a:ahLst/>
              <a:cxnLst/>
              <a:rect l="l" t="t" r="r" b="b"/>
              <a:pathLst>
                <a:path w="3727" h="2662" fill="none" extrusionOk="0">
                  <a:moveTo>
                    <a:pt x="1" y="188"/>
                  </a:moveTo>
                  <a:lnTo>
                    <a:pt x="1" y="188"/>
                  </a:lnTo>
                  <a:lnTo>
                    <a:pt x="126" y="32"/>
                  </a:lnTo>
                  <a:lnTo>
                    <a:pt x="188" y="0"/>
                  </a:lnTo>
                  <a:lnTo>
                    <a:pt x="220" y="0"/>
                  </a:lnTo>
                  <a:lnTo>
                    <a:pt x="282" y="32"/>
                  </a:lnTo>
                  <a:lnTo>
                    <a:pt x="314" y="94"/>
                  </a:lnTo>
                  <a:lnTo>
                    <a:pt x="376" y="251"/>
                  </a:lnTo>
                  <a:lnTo>
                    <a:pt x="533" y="908"/>
                  </a:lnTo>
                  <a:lnTo>
                    <a:pt x="689" y="1378"/>
                  </a:lnTo>
                  <a:lnTo>
                    <a:pt x="909" y="1910"/>
                  </a:lnTo>
                  <a:lnTo>
                    <a:pt x="909" y="1910"/>
                  </a:lnTo>
                  <a:lnTo>
                    <a:pt x="1034" y="2192"/>
                  </a:lnTo>
                  <a:lnTo>
                    <a:pt x="1159" y="2380"/>
                  </a:lnTo>
                  <a:lnTo>
                    <a:pt x="1316" y="2536"/>
                  </a:lnTo>
                  <a:lnTo>
                    <a:pt x="1472" y="2630"/>
                  </a:lnTo>
                  <a:lnTo>
                    <a:pt x="1660" y="2662"/>
                  </a:lnTo>
                  <a:lnTo>
                    <a:pt x="1848" y="2662"/>
                  </a:lnTo>
                  <a:lnTo>
                    <a:pt x="2036" y="2599"/>
                  </a:lnTo>
                  <a:lnTo>
                    <a:pt x="2223" y="2505"/>
                  </a:lnTo>
                  <a:lnTo>
                    <a:pt x="2411" y="2348"/>
                  </a:lnTo>
                  <a:lnTo>
                    <a:pt x="2599" y="2161"/>
                  </a:lnTo>
                  <a:lnTo>
                    <a:pt x="2818" y="1910"/>
                  </a:lnTo>
                  <a:lnTo>
                    <a:pt x="3006" y="1660"/>
                  </a:lnTo>
                  <a:lnTo>
                    <a:pt x="3194" y="1347"/>
                  </a:lnTo>
                  <a:lnTo>
                    <a:pt x="3382" y="1002"/>
                  </a:lnTo>
                  <a:lnTo>
                    <a:pt x="3538" y="595"/>
                  </a:lnTo>
                  <a:lnTo>
                    <a:pt x="3726" y="18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8" name="Google Shape;759;p138">
              <a:extLst>
                <a:ext uri="{FF2B5EF4-FFF2-40B4-BE49-F238E27FC236}">
                  <a16:creationId xmlns:a16="http://schemas.microsoft.com/office/drawing/2014/main" id="{DA23A6EC-0D1B-D9D2-2171-690C1450817E}"/>
                </a:ext>
              </a:extLst>
            </p:cNvPr>
            <p:cNvSpPr/>
            <p:nvPr/>
          </p:nvSpPr>
          <p:spPr>
            <a:xfrm>
              <a:off x="1503750" y="3392850"/>
              <a:ext cx="1376800" cy="1362700"/>
            </a:xfrm>
            <a:custGeom>
              <a:avLst/>
              <a:gdLst/>
              <a:ahLst/>
              <a:cxnLst/>
              <a:rect l="l" t="t" r="r" b="b"/>
              <a:pathLst>
                <a:path w="55072" h="54508" extrusionOk="0">
                  <a:moveTo>
                    <a:pt x="21415" y="0"/>
                  </a:moveTo>
                  <a:lnTo>
                    <a:pt x="15623" y="63"/>
                  </a:lnTo>
                  <a:lnTo>
                    <a:pt x="12931" y="126"/>
                  </a:lnTo>
                  <a:lnTo>
                    <a:pt x="10426" y="219"/>
                  </a:lnTo>
                  <a:lnTo>
                    <a:pt x="8109" y="313"/>
                  </a:lnTo>
                  <a:lnTo>
                    <a:pt x="6074" y="407"/>
                  </a:lnTo>
                  <a:lnTo>
                    <a:pt x="4290" y="564"/>
                  </a:lnTo>
                  <a:lnTo>
                    <a:pt x="2818" y="720"/>
                  </a:lnTo>
                  <a:lnTo>
                    <a:pt x="2223" y="783"/>
                  </a:lnTo>
                  <a:lnTo>
                    <a:pt x="1722" y="877"/>
                  </a:lnTo>
                  <a:lnTo>
                    <a:pt x="1315" y="971"/>
                  </a:lnTo>
                  <a:lnTo>
                    <a:pt x="1002" y="1096"/>
                  </a:lnTo>
                  <a:lnTo>
                    <a:pt x="783" y="1190"/>
                  </a:lnTo>
                  <a:lnTo>
                    <a:pt x="627" y="1378"/>
                  </a:lnTo>
                  <a:lnTo>
                    <a:pt x="470" y="1660"/>
                  </a:lnTo>
                  <a:lnTo>
                    <a:pt x="313" y="1973"/>
                  </a:lnTo>
                  <a:lnTo>
                    <a:pt x="220" y="2348"/>
                  </a:lnTo>
                  <a:lnTo>
                    <a:pt x="126" y="2787"/>
                  </a:lnTo>
                  <a:lnTo>
                    <a:pt x="63" y="3256"/>
                  </a:lnTo>
                  <a:lnTo>
                    <a:pt x="32" y="3820"/>
                  </a:lnTo>
                  <a:lnTo>
                    <a:pt x="0" y="4415"/>
                  </a:lnTo>
                  <a:lnTo>
                    <a:pt x="0" y="5072"/>
                  </a:lnTo>
                  <a:lnTo>
                    <a:pt x="32" y="6481"/>
                  </a:lnTo>
                  <a:lnTo>
                    <a:pt x="126" y="8109"/>
                  </a:lnTo>
                  <a:lnTo>
                    <a:pt x="313" y="9862"/>
                  </a:lnTo>
                  <a:lnTo>
                    <a:pt x="627" y="12398"/>
                  </a:lnTo>
                  <a:lnTo>
                    <a:pt x="1034" y="15122"/>
                  </a:lnTo>
                  <a:lnTo>
                    <a:pt x="1503" y="18002"/>
                  </a:lnTo>
                  <a:lnTo>
                    <a:pt x="2035" y="20977"/>
                  </a:lnTo>
                  <a:lnTo>
                    <a:pt x="2630" y="24014"/>
                  </a:lnTo>
                  <a:lnTo>
                    <a:pt x="3256" y="27082"/>
                  </a:lnTo>
                  <a:lnTo>
                    <a:pt x="3914" y="30119"/>
                  </a:lnTo>
                  <a:lnTo>
                    <a:pt x="4571" y="33062"/>
                  </a:lnTo>
                  <a:lnTo>
                    <a:pt x="5229" y="35911"/>
                  </a:lnTo>
                  <a:lnTo>
                    <a:pt x="5886" y="38635"/>
                  </a:lnTo>
                  <a:lnTo>
                    <a:pt x="6512" y="41108"/>
                  </a:lnTo>
                  <a:lnTo>
                    <a:pt x="7107" y="43393"/>
                  </a:lnTo>
                  <a:lnTo>
                    <a:pt x="7640" y="45366"/>
                  </a:lnTo>
                  <a:lnTo>
                    <a:pt x="8109" y="46994"/>
                  </a:lnTo>
                  <a:lnTo>
                    <a:pt x="8485" y="48277"/>
                  </a:lnTo>
                  <a:lnTo>
                    <a:pt x="8798" y="49123"/>
                  </a:lnTo>
                  <a:lnTo>
                    <a:pt x="8892" y="49342"/>
                  </a:lnTo>
                  <a:lnTo>
                    <a:pt x="9017" y="49592"/>
                  </a:lnTo>
                  <a:lnTo>
                    <a:pt x="9174" y="49812"/>
                  </a:lnTo>
                  <a:lnTo>
                    <a:pt x="9362" y="50031"/>
                  </a:lnTo>
                  <a:lnTo>
                    <a:pt x="9549" y="50250"/>
                  </a:lnTo>
                  <a:lnTo>
                    <a:pt x="9769" y="50438"/>
                  </a:lnTo>
                  <a:lnTo>
                    <a:pt x="10269" y="50845"/>
                  </a:lnTo>
                  <a:lnTo>
                    <a:pt x="10864" y="51220"/>
                  </a:lnTo>
                  <a:lnTo>
                    <a:pt x="11553" y="51596"/>
                  </a:lnTo>
                  <a:lnTo>
                    <a:pt x="12273" y="51940"/>
                  </a:lnTo>
                  <a:lnTo>
                    <a:pt x="13087" y="52254"/>
                  </a:lnTo>
                  <a:lnTo>
                    <a:pt x="13964" y="52535"/>
                  </a:lnTo>
                  <a:lnTo>
                    <a:pt x="14872" y="52817"/>
                  </a:lnTo>
                  <a:lnTo>
                    <a:pt x="15874" y="53068"/>
                  </a:lnTo>
                  <a:lnTo>
                    <a:pt x="16875" y="53318"/>
                  </a:lnTo>
                  <a:lnTo>
                    <a:pt x="17971" y="53506"/>
                  </a:lnTo>
                  <a:lnTo>
                    <a:pt x="19067" y="53725"/>
                  </a:lnTo>
                  <a:lnTo>
                    <a:pt x="20194" y="53882"/>
                  </a:lnTo>
                  <a:lnTo>
                    <a:pt x="21384" y="54038"/>
                  </a:lnTo>
                  <a:lnTo>
                    <a:pt x="23231" y="54226"/>
                  </a:lnTo>
                  <a:lnTo>
                    <a:pt x="25110" y="54383"/>
                  </a:lnTo>
                  <a:lnTo>
                    <a:pt x="27019" y="54476"/>
                  </a:lnTo>
                  <a:lnTo>
                    <a:pt x="28929" y="54508"/>
                  </a:lnTo>
                  <a:lnTo>
                    <a:pt x="30808" y="54508"/>
                  </a:lnTo>
                  <a:lnTo>
                    <a:pt x="32686" y="54476"/>
                  </a:lnTo>
                  <a:lnTo>
                    <a:pt x="34502" y="54383"/>
                  </a:lnTo>
                  <a:lnTo>
                    <a:pt x="36255" y="54226"/>
                  </a:lnTo>
                  <a:lnTo>
                    <a:pt x="37946" y="54038"/>
                  </a:lnTo>
                  <a:lnTo>
                    <a:pt x="39511" y="53819"/>
                  </a:lnTo>
                  <a:lnTo>
                    <a:pt x="40983" y="53537"/>
                  </a:lnTo>
                  <a:lnTo>
                    <a:pt x="41672" y="53349"/>
                  </a:lnTo>
                  <a:lnTo>
                    <a:pt x="42298" y="53193"/>
                  </a:lnTo>
                  <a:lnTo>
                    <a:pt x="42924" y="53005"/>
                  </a:lnTo>
                  <a:lnTo>
                    <a:pt x="43487" y="52817"/>
                  </a:lnTo>
                  <a:lnTo>
                    <a:pt x="44020" y="52598"/>
                  </a:lnTo>
                  <a:lnTo>
                    <a:pt x="44489" y="52379"/>
                  </a:lnTo>
                  <a:lnTo>
                    <a:pt x="44928" y="52160"/>
                  </a:lnTo>
                  <a:lnTo>
                    <a:pt x="45303" y="51909"/>
                  </a:lnTo>
                  <a:lnTo>
                    <a:pt x="45648" y="51659"/>
                  </a:lnTo>
                  <a:lnTo>
                    <a:pt x="45930" y="51408"/>
                  </a:lnTo>
                  <a:lnTo>
                    <a:pt x="46086" y="51189"/>
                  </a:lnTo>
                  <a:lnTo>
                    <a:pt x="46274" y="50813"/>
                  </a:lnTo>
                  <a:lnTo>
                    <a:pt x="46493" y="50312"/>
                  </a:lnTo>
                  <a:lnTo>
                    <a:pt x="46712" y="49718"/>
                  </a:lnTo>
                  <a:lnTo>
                    <a:pt x="47244" y="48121"/>
                  </a:lnTo>
                  <a:lnTo>
                    <a:pt x="47808" y="46148"/>
                  </a:lnTo>
                  <a:lnTo>
                    <a:pt x="48434" y="43800"/>
                  </a:lnTo>
                  <a:lnTo>
                    <a:pt x="49092" y="41170"/>
                  </a:lnTo>
                  <a:lnTo>
                    <a:pt x="49780" y="38259"/>
                  </a:lnTo>
                  <a:lnTo>
                    <a:pt x="50469" y="35159"/>
                  </a:lnTo>
                  <a:lnTo>
                    <a:pt x="51158" y="31935"/>
                  </a:lnTo>
                  <a:lnTo>
                    <a:pt x="51847" y="28585"/>
                  </a:lnTo>
                  <a:lnTo>
                    <a:pt x="52473" y="25235"/>
                  </a:lnTo>
                  <a:lnTo>
                    <a:pt x="53068" y="21885"/>
                  </a:lnTo>
                  <a:lnTo>
                    <a:pt x="53631" y="18597"/>
                  </a:lnTo>
                  <a:lnTo>
                    <a:pt x="54101" y="15435"/>
                  </a:lnTo>
                  <a:lnTo>
                    <a:pt x="54508" y="12461"/>
                  </a:lnTo>
                  <a:lnTo>
                    <a:pt x="54790" y="9706"/>
                  </a:lnTo>
                  <a:lnTo>
                    <a:pt x="54946" y="7921"/>
                  </a:lnTo>
                  <a:lnTo>
                    <a:pt x="55040" y="6325"/>
                  </a:lnTo>
                  <a:lnTo>
                    <a:pt x="55072" y="4884"/>
                  </a:lnTo>
                  <a:lnTo>
                    <a:pt x="55040" y="4227"/>
                  </a:lnTo>
                  <a:lnTo>
                    <a:pt x="55040" y="3663"/>
                  </a:lnTo>
                  <a:lnTo>
                    <a:pt x="54978" y="3100"/>
                  </a:lnTo>
                  <a:lnTo>
                    <a:pt x="54915" y="2630"/>
                  </a:lnTo>
                  <a:lnTo>
                    <a:pt x="54821" y="2223"/>
                  </a:lnTo>
                  <a:lnTo>
                    <a:pt x="54727" y="1847"/>
                  </a:lnTo>
                  <a:lnTo>
                    <a:pt x="54602" y="1566"/>
                  </a:lnTo>
                  <a:lnTo>
                    <a:pt x="54445" y="1315"/>
                  </a:lnTo>
                  <a:lnTo>
                    <a:pt x="54289" y="1159"/>
                  </a:lnTo>
                  <a:lnTo>
                    <a:pt x="54195" y="1127"/>
                  </a:lnTo>
                  <a:lnTo>
                    <a:pt x="54101" y="1096"/>
                  </a:lnTo>
                  <a:lnTo>
                    <a:pt x="53757" y="1002"/>
                  </a:lnTo>
                  <a:lnTo>
                    <a:pt x="53318" y="940"/>
                  </a:lnTo>
                  <a:lnTo>
                    <a:pt x="52160" y="783"/>
                  </a:lnTo>
                  <a:lnTo>
                    <a:pt x="50688" y="658"/>
                  </a:lnTo>
                  <a:lnTo>
                    <a:pt x="48872" y="564"/>
                  </a:lnTo>
                  <a:lnTo>
                    <a:pt x="46806" y="439"/>
                  </a:lnTo>
                  <a:lnTo>
                    <a:pt x="44521" y="345"/>
                  </a:lnTo>
                  <a:lnTo>
                    <a:pt x="39323" y="188"/>
                  </a:lnTo>
                  <a:lnTo>
                    <a:pt x="33531" y="63"/>
                  </a:lnTo>
                  <a:lnTo>
                    <a:pt x="2745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9" name="Google Shape;760;p138">
              <a:extLst>
                <a:ext uri="{FF2B5EF4-FFF2-40B4-BE49-F238E27FC236}">
                  <a16:creationId xmlns:a16="http://schemas.microsoft.com/office/drawing/2014/main" id="{E634A68B-66EC-0348-4C0B-FAE446C73397}"/>
                </a:ext>
              </a:extLst>
            </p:cNvPr>
            <p:cNvSpPr/>
            <p:nvPr/>
          </p:nvSpPr>
          <p:spPr>
            <a:xfrm>
              <a:off x="1503750" y="3392850"/>
              <a:ext cx="1376800" cy="1362700"/>
            </a:xfrm>
            <a:custGeom>
              <a:avLst/>
              <a:gdLst/>
              <a:ahLst/>
              <a:cxnLst/>
              <a:rect l="l" t="t" r="r" b="b"/>
              <a:pathLst>
                <a:path w="55072" h="54508" fill="none" extrusionOk="0">
                  <a:moveTo>
                    <a:pt x="54790" y="9706"/>
                  </a:moveTo>
                  <a:lnTo>
                    <a:pt x="54790" y="9706"/>
                  </a:lnTo>
                  <a:lnTo>
                    <a:pt x="54508" y="12461"/>
                  </a:lnTo>
                  <a:lnTo>
                    <a:pt x="54101" y="15435"/>
                  </a:lnTo>
                  <a:lnTo>
                    <a:pt x="53631" y="18597"/>
                  </a:lnTo>
                  <a:lnTo>
                    <a:pt x="53068" y="21885"/>
                  </a:lnTo>
                  <a:lnTo>
                    <a:pt x="52473" y="25235"/>
                  </a:lnTo>
                  <a:lnTo>
                    <a:pt x="51847" y="28585"/>
                  </a:lnTo>
                  <a:lnTo>
                    <a:pt x="51158" y="31935"/>
                  </a:lnTo>
                  <a:lnTo>
                    <a:pt x="50469" y="35159"/>
                  </a:lnTo>
                  <a:lnTo>
                    <a:pt x="49780" y="38259"/>
                  </a:lnTo>
                  <a:lnTo>
                    <a:pt x="49092" y="41170"/>
                  </a:lnTo>
                  <a:lnTo>
                    <a:pt x="48434" y="43800"/>
                  </a:lnTo>
                  <a:lnTo>
                    <a:pt x="47808" y="46148"/>
                  </a:lnTo>
                  <a:lnTo>
                    <a:pt x="47244" y="48121"/>
                  </a:lnTo>
                  <a:lnTo>
                    <a:pt x="46712" y="49718"/>
                  </a:lnTo>
                  <a:lnTo>
                    <a:pt x="46493" y="50312"/>
                  </a:lnTo>
                  <a:lnTo>
                    <a:pt x="46274" y="50813"/>
                  </a:lnTo>
                  <a:lnTo>
                    <a:pt x="46086" y="51189"/>
                  </a:lnTo>
                  <a:lnTo>
                    <a:pt x="45930" y="51408"/>
                  </a:lnTo>
                  <a:lnTo>
                    <a:pt x="45930" y="51408"/>
                  </a:lnTo>
                  <a:lnTo>
                    <a:pt x="45648" y="51659"/>
                  </a:lnTo>
                  <a:lnTo>
                    <a:pt x="45303" y="51909"/>
                  </a:lnTo>
                  <a:lnTo>
                    <a:pt x="44928" y="52160"/>
                  </a:lnTo>
                  <a:lnTo>
                    <a:pt x="44489" y="52379"/>
                  </a:lnTo>
                  <a:lnTo>
                    <a:pt x="44020" y="52598"/>
                  </a:lnTo>
                  <a:lnTo>
                    <a:pt x="43487" y="52817"/>
                  </a:lnTo>
                  <a:lnTo>
                    <a:pt x="42924" y="53005"/>
                  </a:lnTo>
                  <a:lnTo>
                    <a:pt x="42298" y="53193"/>
                  </a:lnTo>
                  <a:lnTo>
                    <a:pt x="41672" y="53349"/>
                  </a:lnTo>
                  <a:lnTo>
                    <a:pt x="40983" y="53537"/>
                  </a:lnTo>
                  <a:lnTo>
                    <a:pt x="39511" y="53819"/>
                  </a:lnTo>
                  <a:lnTo>
                    <a:pt x="37946" y="54038"/>
                  </a:lnTo>
                  <a:lnTo>
                    <a:pt x="36255" y="54226"/>
                  </a:lnTo>
                  <a:lnTo>
                    <a:pt x="34502" y="54383"/>
                  </a:lnTo>
                  <a:lnTo>
                    <a:pt x="32686" y="54476"/>
                  </a:lnTo>
                  <a:lnTo>
                    <a:pt x="30808" y="54508"/>
                  </a:lnTo>
                  <a:lnTo>
                    <a:pt x="28929" y="54508"/>
                  </a:lnTo>
                  <a:lnTo>
                    <a:pt x="27019" y="54476"/>
                  </a:lnTo>
                  <a:lnTo>
                    <a:pt x="25110" y="54383"/>
                  </a:lnTo>
                  <a:lnTo>
                    <a:pt x="23231" y="54226"/>
                  </a:lnTo>
                  <a:lnTo>
                    <a:pt x="21384" y="54038"/>
                  </a:lnTo>
                  <a:lnTo>
                    <a:pt x="21384" y="54038"/>
                  </a:lnTo>
                  <a:lnTo>
                    <a:pt x="20194" y="53882"/>
                  </a:lnTo>
                  <a:lnTo>
                    <a:pt x="19067" y="53725"/>
                  </a:lnTo>
                  <a:lnTo>
                    <a:pt x="17971" y="53506"/>
                  </a:lnTo>
                  <a:lnTo>
                    <a:pt x="16875" y="53318"/>
                  </a:lnTo>
                  <a:lnTo>
                    <a:pt x="15874" y="53068"/>
                  </a:lnTo>
                  <a:lnTo>
                    <a:pt x="14872" y="52817"/>
                  </a:lnTo>
                  <a:lnTo>
                    <a:pt x="13964" y="52535"/>
                  </a:lnTo>
                  <a:lnTo>
                    <a:pt x="13087" y="52254"/>
                  </a:lnTo>
                  <a:lnTo>
                    <a:pt x="12273" y="51940"/>
                  </a:lnTo>
                  <a:lnTo>
                    <a:pt x="11553" y="51596"/>
                  </a:lnTo>
                  <a:lnTo>
                    <a:pt x="10864" y="51220"/>
                  </a:lnTo>
                  <a:lnTo>
                    <a:pt x="10269" y="50845"/>
                  </a:lnTo>
                  <a:lnTo>
                    <a:pt x="9769" y="50438"/>
                  </a:lnTo>
                  <a:lnTo>
                    <a:pt x="9549" y="50250"/>
                  </a:lnTo>
                  <a:lnTo>
                    <a:pt x="9362" y="50031"/>
                  </a:lnTo>
                  <a:lnTo>
                    <a:pt x="9174" y="49812"/>
                  </a:lnTo>
                  <a:lnTo>
                    <a:pt x="9017" y="49592"/>
                  </a:lnTo>
                  <a:lnTo>
                    <a:pt x="8892" y="49342"/>
                  </a:lnTo>
                  <a:lnTo>
                    <a:pt x="8798" y="49123"/>
                  </a:lnTo>
                  <a:lnTo>
                    <a:pt x="8798" y="49123"/>
                  </a:lnTo>
                  <a:lnTo>
                    <a:pt x="8485" y="48277"/>
                  </a:lnTo>
                  <a:lnTo>
                    <a:pt x="8109" y="46994"/>
                  </a:lnTo>
                  <a:lnTo>
                    <a:pt x="7640" y="45366"/>
                  </a:lnTo>
                  <a:lnTo>
                    <a:pt x="7107" y="43393"/>
                  </a:lnTo>
                  <a:lnTo>
                    <a:pt x="6512" y="41108"/>
                  </a:lnTo>
                  <a:lnTo>
                    <a:pt x="5886" y="38635"/>
                  </a:lnTo>
                  <a:lnTo>
                    <a:pt x="5229" y="35911"/>
                  </a:lnTo>
                  <a:lnTo>
                    <a:pt x="4571" y="33062"/>
                  </a:lnTo>
                  <a:lnTo>
                    <a:pt x="3914" y="30119"/>
                  </a:lnTo>
                  <a:lnTo>
                    <a:pt x="3256" y="27082"/>
                  </a:lnTo>
                  <a:lnTo>
                    <a:pt x="2630" y="24014"/>
                  </a:lnTo>
                  <a:lnTo>
                    <a:pt x="2035" y="20977"/>
                  </a:lnTo>
                  <a:lnTo>
                    <a:pt x="1503" y="18002"/>
                  </a:lnTo>
                  <a:lnTo>
                    <a:pt x="1034" y="15122"/>
                  </a:lnTo>
                  <a:lnTo>
                    <a:pt x="627" y="12398"/>
                  </a:lnTo>
                  <a:lnTo>
                    <a:pt x="313" y="9862"/>
                  </a:lnTo>
                  <a:lnTo>
                    <a:pt x="313" y="9862"/>
                  </a:lnTo>
                  <a:lnTo>
                    <a:pt x="126" y="8109"/>
                  </a:lnTo>
                  <a:lnTo>
                    <a:pt x="32" y="6481"/>
                  </a:lnTo>
                  <a:lnTo>
                    <a:pt x="0" y="5072"/>
                  </a:lnTo>
                  <a:lnTo>
                    <a:pt x="0" y="4415"/>
                  </a:lnTo>
                  <a:lnTo>
                    <a:pt x="32" y="3820"/>
                  </a:lnTo>
                  <a:lnTo>
                    <a:pt x="63" y="3256"/>
                  </a:lnTo>
                  <a:lnTo>
                    <a:pt x="126" y="2787"/>
                  </a:lnTo>
                  <a:lnTo>
                    <a:pt x="220" y="2348"/>
                  </a:lnTo>
                  <a:lnTo>
                    <a:pt x="313" y="1973"/>
                  </a:lnTo>
                  <a:lnTo>
                    <a:pt x="470" y="1660"/>
                  </a:lnTo>
                  <a:lnTo>
                    <a:pt x="627" y="1378"/>
                  </a:lnTo>
                  <a:lnTo>
                    <a:pt x="783" y="1190"/>
                  </a:lnTo>
                  <a:lnTo>
                    <a:pt x="1002" y="1096"/>
                  </a:lnTo>
                  <a:lnTo>
                    <a:pt x="1002" y="1096"/>
                  </a:lnTo>
                  <a:lnTo>
                    <a:pt x="1315" y="971"/>
                  </a:lnTo>
                  <a:lnTo>
                    <a:pt x="1722" y="877"/>
                  </a:lnTo>
                  <a:lnTo>
                    <a:pt x="2223" y="783"/>
                  </a:lnTo>
                  <a:lnTo>
                    <a:pt x="2818" y="720"/>
                  </a:lnTo>
                  <a:lnTo>
                    <a:pt x="4290" y="564"/>
                  </a:lnTo>
                  <a:lnTo>
                    <a:pt x="6074" y="407"/>
                  </a:lnTo>
                  <a:lnTo>
                    <a:pt x="8109" y="313"/>
                  </a:lnTo>
                  <a:lnTo>
                    <a:pt x="10426" y="219"/>
                  </a:lnTo>
                  <a:lnTo>
                    <a:pt x="12931" y="126"/>
                  </a:lnTo>
                  <a:lnTo>
                    <a:pt x="15623" y="63"/>
                  </a:lnTo>
                  <a:lnTo>
                    <a:pt x="21415" y="0"/>
                  </a:lnTo>
                  <a:lnTo>
                    <a:pt x="27458" y="0"/>
                  </a:lnTo>
                  <a:lnTo>
                    <a:pt x="33531" y="63"/>
                  </a:lnTo>
                  <a:lnTo>
                    <a:pt x="39323" y="188"/>
                  </a:lnTo>
                  <a:lnTo>
                    <a:pt x="39323" y="188"/>
                  </a:lnTo>
                  <a:lnTo>
                    <a:pt x="44521" y="345"/>
                  </a:lnTo>
                  <a:lnTo>
                    <a:pt x="46806" y="439"/>
                  </a:lnTo>
                  <a:lnTo>
                    <a:pt x="48872" y="564"/>
                  </a:lnTo>
                  <a:lnTo>
                    <a:pt x="50688" y="658"/>
                  </a:lnTo>
                  <a:lnTo>
                    <a:pt x="52160" y="783"/>
                  </a:lnTo>
                  <a:lnTo>
                    <a:pt x="53318" y="940"/>
                  </a:lnTo>
                  <a:lnTo>
                    <a:pt x="53757" y="1002"/>
                  </a:lnTo>
                  <a:lnTo>
                    <a:pt x="54101" y="1096"/>
                  </a:lnTo>
                  <a:lnTo>
                    <a:pt x="54101" y="1096"/>
                  </a:lnTo>
                  <a:lnTo>
                    <a:pt x="54195" y="1127"/>
                  </a:lnTo>
                  <a:lnTo>
                    <a:pt x="54289" y="1159"/>
                  </a:lnTo>
                  <a:lnTo>
                    <a:pt x="54445" y="1315"/>
                  </a:lnTo>
                  <a:lnTo>
                    <a:pt x="54602" y="1566"/>
                  </a:lnTo>
                  <a:lnTo>
                    <a:pt x="54727" y="1847"/>
                  </a:lnTo>
                  <a:lnTo>
                    <a:pt x="54821" y="2223"/>
                  </a:lnTo>
                  <a:lnTo>
                    <a:pt x="54915" y="2630"/>
                  </a:lnTo>
                  <a:lnTo>
                    <a:pt x="54978" y="3100"/>
                  </a:lnTo>
                  <a:lnTo>
                    <a:pt x="55040" y="3663"/>
                  </a:lnTo>
                  <a:lnTo>
                    <a:pt x="55040" y="4227"/>
                  </a:lnTo>
                  <a:lnTo>
                    <a:pt x="55072" y="4884"/>
                  </a:lnTo>
                  <a:lnTo>
                    <a:pt x="55040" y="6325"/>
                  </a:lnTo>
                  <a:lnTo>
                    <a:pt x="54946" y="7921"/>
                  </a:lnTo>
                  <a:lnTo>
                    <a:pt x="54790" y="9706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0" name="Google Shape;761;p138">
              <a:extLst>
                <a:ext uri="{FF2B5EF4-FFF2-40B4-BE49-F238E27FC236}">
                  <a16:creationId xmlns:a16="http://schemas.microsoft.com/office/drawing/2014/main" id="{0E0C0568-854B-4504-4CC8-00B9C60E87B0}"/>
                </a:ext>
              </a:extLst>
            </p:cNvPr>
            <p:cNvSpPr/>
            <p:nvPr/>
          </p:nvSpPr>
          <p:spPr>
            <a:xfrm>
              <a:off x="1423125" y="3331000"/>
              <a:ext cx="1538825" cy="323300"/>
            </a:xfrm>
            <a:custGeom>
              <a:avLst/>
              <a:gdLst/>
              <a:ahLst/>
              <a:cxnLst/>
              <a:rect l="l" t="t" r="r" b="b"/>
              <a:pathLst>
                <a:path w="61553" h="12932" extrusionOk="0">
                  <a:moveTo>
                    <a:pt x="27114" y="1"/>
                  </a:moveTo>
                  <a:lnTo>
                    <a:pt x="24296" y="64"/>
                  </a:lnTo>
                  <a:lnTo>
                    <a:pt x="21478" y="126"/>
                  </a:lnTo>
                  <a:lnTo>
                    <a:pt x="18692" y="283"/>
                  </a:lnTo>
                  <a:lnTo>
                    <a:pt x="15999" y="439"/>
                  </a:lnTo>
                  <a:lnTo>
                    <a:pt x="13401" y="690"/>
                  </a:lnTo>
                  <a:lnTo>
                    <a:pt x="10927" y="971"/>
                  </a:lnTo>
                  <a:lnTo>
                    <a:pt x="9737" y="1159"/>
                  </a:lnTo>
                  <a:lnTo>
                    <a:pt x="8579" y="1347"/>
                  </a:lnTo>
                  <a:lnTo>
                    <a:pt x="7452" y="1535"/>
                  </a:lnTo>
                  <a:lnTo>
                    <a:pt x="6388" y="1754"/>
                  </a:lnTo>
                  <a:lnTo>
                    <a:pt x="5354" y="2005"/>
                  </a:lnTo>
                  <a:lnTo>
                    <a:pt x="4384" y="2255"/>
                  </a:lnTo>
                  <a:lnTo>
                    <a:pt x="3445" y="2537"/>
                  </a:lnTo>
                  <a:lnTo>
                    <a:pt x="2568" y="2819"/>
                  </a:lnTo>
                  <a:lnTo>
                    <a:pt x="2286" y="2944"/>
                  </a:lnTo>
                  <a:lnTo>
                    <a:pt x="2036" y="3100"/>
                  </a:lnTo>
                  <a:lnTo>
                    <a:pt x="1754" y="3320"/>
                  </a:lnTo>
                  <a:lnTo>
                    <a:pt x="1535" y="3601"/>
                  </a:lnTo>
                  <a:lnTo>
                    <a:pt x="1316" y="3883"/>
                  </a:lnTo>
                  <a:lnTo>
                    <a:pt x="1096" y="4228"/>
                  </a:lnTo>
                  <a:lnTo>
                    <a:pt x="909" y="4572"/>
                  </a:lnTo>
                  <a:lnTo>
                    <a:pt x="752" y="4948"/>
                  </a:lnTo>
                  <a:lnTo>
                    <a:pt x="595" y="5386"/>
                  </a:lnTo>
                  <a:lnTo>
                    <a:pt x="439" y="5793"/>
                  </a:lnTo>
                  <a:lnTo>
                    <a:pt x="345" y="6231"/>
                  </a:lnTo>
                  <a:lnTo>
                    <a:pt x="220" y="6701"/>
                  </a:lnTo>
                  <a:lnTo>
                    <a:pt x="157" y="7171"/>
                  </a:lnTo>
                  <a:lnTo>
                    <a:pt x="95" y="7609"/>
                  </a:lnTo>
                  <a:lnTo>
                    <a:pt x="32" y="8078"/>
                  </a:lnTo>
                  <a:lnTo>
                    <a:pt x="1" y="8548"/>
                  </a:lnTo>
                  <a:lnTo>
                    <a:pt x="1" y="9018"/>
                  </a:lnTo>
                  <a:lnTo>
                    <a:pt x="32" y="9456"/>
                  </a:lnTo>
                  <a:lnTo>
                    <a:pt x="63" y="9894"/>
                  </a:lnTo>
                  <a:lnTo>
                    <a:pt x="126" y="10301"/>
                  </a:lnTo>
                  <a:lnTo>
                    <a:pt x="188" y="10708"/>
                  </a:lnTo>
                  <a:lnTo>
                    <a:pt x="314" y="11084"/>
                  </a:lnTo>
                  <a:lnTo>
                    <a:pt x="439" y="11397"/>
                  </a:lnTo>
                  <a:lnTo>
                    <a:pt x="564" y="11710"/>
                  </a:lnTo>
                  <a:lnTo>
                    <a:pt x="752" y="11992"/>
                  </a:lnTo>
                  <a:lnTo>
                    <a:pt x="940" y="12242"/>
                  </a:lnTo>
                  <a:lnTo>
                    <a:pt x="1128" y="12430"/>
                  </a:lnTo>
                  <a:lnTo>
                    <a:pt x="1378" y="12556"/>
                  </a:lnTo>
                  <a:lnTo>
                    <a:pt x="1629" y="12649"/>
                  </a:lnTo>
                  <a:lnTo>
                    <a:pt x="1942" y="12712"/>
                  </a:lnTo>
                  <a:lnTo>
                    <a:pt x="2255" y="12681"/>
                  </a:lnTo>
                  <a:lnTo>
                    <a:pt x="2568" y="12618"/>
                  </a:lnTo>
                  <a:lnTo>
                    <a:pt x="3538" y="12336"/>
                  </a:lnTo>
                  <a:lnTo>
                    <a:pt x="5448" y="11804"/>
                  </a:lnTo>
                  <a:lnTo>
                    <a:pt x="7452" y="11334"/>
                  </a:lnTo>
                  <a:lnTo>
                    <a:pt x="9550" y="10927"/>
                  </a:lnTo>
                  <a:lnTo>
                    <a:pt x="11741" y="10520"/>
                  </a:lnTo>
                  <a:lnTo>
                    <a:pt x="13964" y="10176"/>
                  </a:lnTo>
                  <a:lnTo>
                    <a:pt x="16281" y="9894"/>
                  </a:lnTo>
                  <a:lnTo>
                    <a:pt x="18629" y="9644"/>
                  </a:lnTo>
                  <a:lnTo>
                    <a:pt x="21008" y="9425"/>
                  </a:lnTo>
                  <a:lnTo>
                    <a:pt x="23419" y="9237"/>
                  </a:lnTo>
                  <a:lnTo>
                    <a:pt x="25830" y="9112"/>
                  </a:lnTo>
                  <a:lnTo>
                    <a:pt x="28241" y="9018"/>
                  </a:lnTo>
                  <a:lnTo>
                    <a:pt x="30683" y="8955"/>
                  </a:lnTo>
                  <a:lnTo>
                    <a:pt x="35410" y="8955"/>
                  </a:lnTo>
                  <a:lnTo>
                    <a:pt x="37758" y="9018"/>
                  </a:lnTo>
                  <a:lnTo>
                    <a:pt x="40013" y="9112"/>
                  </a:lnTo>
                  <a:lnTo>
                    <a:pt x="42924" y="9299"/>
                  </a:lnTo>
                  <a:lnTo>
                    <a:pt x="45679" y="9519"/>
                  </a:lnTo>
                  <a:lnTo>
                    <a:pt x="46994" y="9675"/>
                  </a:lnTo>
                  <a:lnTo>
                    <a:pt x="48278" y="9832"/>
                  </a:lnTo>
                  <a:lnTo>
                    <a:pt x="49499" y="10020"/>
                  </a:lnTo>
                  <a:lnTo>
                    <a:pt x="50689" y="10176"/>
                  </a:lnTo>
                  <a:lnTo>
                    <a:pt x="51816" y="10395"/>
                  </a:lnTo>
                  <a:lnTo>
                    <a:pt x="52911" y="10614"/>
                  </a:lnTo>
                  <a:lnTo>
                    <a:pt x="53913" y="10834"/>
                  </a:lnTo>
                  <a:lnTo>
                    <a:pt x="54884" y="11084"/>
                  </a:lnTo>
                  <a:lnTo>
                    <a:pt x="55761" y="11334"/>
                  </a:lnTo>
                  <a:lnTo>
                    <a:pt x="56606" y="11616"/>
                  </a:lnTo>
                  <a:lnTo>
                    <a:pt x="57357" y="11898"/>
                  </a:lnTo>
                  <a:lnTo>
                    <a:pt x="58015" y="12180"/>
                  </a:lnTo>
                  <a:lnTo>
                    <a:pt x="58453" y="12399"/>
                  </a:lnTo>
                  <a:lnTo>
                    <a:pt x="58829" y="12618"/>
                  </a:lnTo>
                  <a:lnTo>
                    <a:pt x="59142" y="12775"/>
                  </a:lnTo>
                  <a:lnTo>
                    <a:pt x="59455" y="12869"/>
                  </a:lnTo>
                  <a:lnTo>
                    <a:pt x="59768" y="12931"/>
                  </a:lnTo>
                  <a:lnTo>
                    <a:pt x="60018" y="12900"/>
                  </a:lnTo>
                  <a:lnTo>
                    <a:pt x="60269" y="12837"/>
                  </a:lnTo>
                  <a:lnTo>
                    <a:pt x="60488" y="12712"/>
                  </a:lnTo>
                  <a:lnTo>
                    <a:pt x="60707" y="12524"/>
                  </a:lnTo>
                  <a:lnTo>
                    <a:pt x="60864" y="12305"/>
                  </a:lnTo>
                  <a:lnTo>
                    <a:pt x="61052" y="12055"/>
                  </a:lnTo>
                  <a:lnTo>
                    <a:pt x="61177" y="11741"/>
                  </a:lnTo>
                  <a:lnTo>
                    <a:pt x="61302" y="11397"/>
                  </a:lnTo>
                  <a:lnTo>
                    <a:pt x="61396" y="11053"/>
                  </a:lnTo>
                  <a:lnTo>
                    <a:pt x="61459" y="10646"/>
                  </a:lnTo>
                  <a:lnTo>
                    <a:pt x="61521" y="10239"/>
                  </a:lnTo>
                  <a:lnTo>
                    <a:pt x="61553" y="9800"/>
                  </a:lnTo>
                  <a:lnTo>
                    <a:pt x="61553" y="9362"/>
                  </a:lnTo>
                  <a:lnTo>
                    <a:pt x="61553" y="8892"/>
                  </a:lnTo>
                  <a:lnTo>
                    <a:pt x="61521" y="8423"/>
                  </a:lnTo>
                  <a:lnTo>
                    <a:pt x="61459" y="7922"/>
                  </a:lnTo>
                  <a:lnTo>
                    <a:pt x="61396" y="7452"/>
                  </a:lnTo>
                  <a:lnTo>
                    <a:pt x="61302" y="6951"/>
                  </a:lnTo>
                  <a:lnTo>
                    <a:pt x="61177" y="6482"/>
                  </a:lnTo>
                  <a:lnTo>
                    <a:pt x="61052" y="6012"/>
                  </a:lnTo>
                  <a:lnTo>
                    <a:pt x="60864" y="5574"/>
                  </a:lnTo>
                  <a:lnTo>
                    <a:pt x="60707" y="5135"/>
                  </a:lnTo>
                  <a:lnTo>
                    <a:pt x="60488" y="4697"/>
                  </a:lnTo>
                  <a:lnTo>
                    <a:pt x="60269" y="4321"/>
                  </a:lnTo>
                  <a:lnTo>
                    <a:pt x="60018" y="3946"/>
                  </a:lnTo>
                  <a:lnTo>
                    <a:pt x="59768" y="3601"/>
                  </a:lnTo>
                  <a:lnTo>
                    <a:pt x="59455" y="3288"/>
                  </a:lnTo>
                  <a:lnTo>
                    <a:pt x="59142" y="3038"/>
                  </a:lnTo>
                  <a:lnTo>
                    <a:pt x="58829" y="2819"/>
                  </a:lnTo>
                  <a:lnTo>
                    <a:pt x="58516" y="2662"/>
                  </a:lnTo>
                  <a:lnTo>
                    <a:pt x="58109" y="2506"/>
                  </a:lnTo>
                  <a:lnTo>
                    <a:pt x="57576" y="2349"/>
                  </a:lnTo>
                  <a:lnTo>
                    <a:pt x="56982" y="2193"/>
                  </a:lnTo>
                  <a:lnTo>
                    <a:pt x="56261" y="2036"/>
                  </a:lnTo>
                  <a:lnTo>
                    <a:pt x="55479" y="1879"/>
                  </a:lnTo>
                  <a:lnTo>
                    <a:pt x="53632" y="1598"/>
                  </a:lnTo>
                  <a:lnTo>
                    <a:pt x="51503" y="1316"/>
                  </a:lnTo>
                  <a:lnTo>
                    <a:pt x="49092" y="1034"/>
                  </a:lnTo>
                  <a:lnTo>
                    <a:pt x="46462" y="784"/>
                  </a:lnTo>
                  <a:lnTo>
                    <a:pt x="43613" y="564"/>
                  </a:lnTo>
                  <a:lnTo>
                    <a:pt x="41046" y="377"/>
                  </a:lnTo>
                  <a:lnTo>
                    <a:pt x="38384" y="251"/>
                  </a:lnTo>
                  <a:lnTo>
                    <a:pt x="35629" y="126"/>
                  </a:lnTo>
                  <a:lnTo>
                    <a:pt x="32812" y="64"/>
                  </a:lnTo>
                  <a:lnTo>
                    <a:pt x="29994" y="32"/>
                  </a:lnTo>
                  <a:lnTo>
                    <a:pt x="27114" y="1"/>
                  </a:lnTo>
                  <a:close/>
                </a:path>
              </a:pathLst>
            </a:custGeom>
            <a:solidFill>
              <a:srgbClr val="645446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1" name="Google Shape;762;p138">
              <a:extLst>
                <a:ext uri="{FF2B5EF4-FFF2-40B4-BE49-F238E27FC236}">
                  <a16:creationId xmlns:a16="http://schemas.microsoft.com/office/drawing/2014/main" id="{362E8B70-A3A3-4935-563E-EA67959944DA}"/>
                </a:ext>
              </a:extLst>
            </p:cNvPr>
            <p:cNvSpPr/>
            <p:nvPr/>
          </p:nvSpPr>
          <p:spPr>
            <a:xfrm>
              <a:off x="1423125" y="3331000"/>
              <a:ext cx="1538825" cy="323300"/>
            </a:xfrm>
            <a:custGeom>
              <a:avLst/>
              <a:gdLst/>
              <a:ahLst/>
              <a:cxnLst/>
              <a:rect l="l" t="t" r="r" b="b"/>
              <a:pathLst>
                <a:path w="61553" h="12932" fill="none" extrusionOk="0">
                  <a:moveTo>
                    <a:pt x="58829" y="12618"/>
                  </a:moveTo>
                  <a:lnTo>
                    <a:pt x="58829" y="12618"/>
                  </a:lnTo>
                  <a:lnTo>
                    <a:pt x="58453" y="12399"/>
                  </a:lnTo>
                  <a:lnTo>
                    <a:pt x="58015" y="12180"/>
                  </a:lnTo>
                  <a:lnTo>
                    <a:pt x="58015" y="12180"/>
                  </a:lnTo>
                  <a:lnTo>
                    <a:pt x="57357" y="11898"/>
                  </a:lnTo>
                  <a:lnTo>
                    <a:pt x="56606" y="11616"/>
                  </a:lnTo>
                  <a:lnTo>
                    <a:pt x="55761" y="11334"/>
                  </a:lnTo>
                  <a:lnTo>
                    <a:pt x="54884" y="11084"/>
                  </a:lnTo>
                  <a:lnTo>
                    <a:pt x="53913" y="10834"/>
                  </a:lnTo>
                  <a:lnTo>
                    <a:pt x="52911" y="10614"/>
                  </a:lnTo>
                  <a:lnTo>
                    <a:pt x="51816" y="10395"/>
                  </a:lnTo>
                  <a:lnTo>
                    <a:pt x="50689" y="10176"/>
                  </a:lnTo>
                  <a:lnTo>
                    <a:pt x="49499" y="10020"/>
                  </a:lnTo>
                  <a:lnTo>
                    <a:pt x="48278" y="9832"/>
                  </a:lnTo>
                  <a:lnTo>
                    <a:pt x="46994" y="9675"/>
                  </a:lnTo>
                  <a:lnTo>
                    <a:pt x="45679" y="9519"/>
                  </a:lnTo>
                  <a:lnTo>
                    <a:pt x="42924" y="9299"/>
                  </a:lnTo>
                  <a:lnTo>
                    <a:pt x="40013" y="9112"/>
                  </a:lnTo>
                  <a:lnTo>
                    <a:pt x="40013" y="9112"/>
                  </a:lnTo>
                  <a:lnTo>
                    <a:pt x="37758" y="9018"/>
                  </a:lnTo>
                  <a:lnTo>
                    <a:pt x="35410" y="8955"/>
                  </a:lnTo>
                  <a:lnTo>
                    <a:pt x="33062" y="8955"/>
                  </a:lnTo>
                  <a:lnTo>
                    <a:pt x="30683" y="8955"/>
                  </a:lnTo>
                  <a:lnTo>
                    <a:pt x="28241" y="9018"/>
                  </a:lnTo>
                  <a:lnTo>
                    <a:pt x="25830" y="9112"/>
                  </a:lnTo>
                  <a:lnTo>
                    <a:pt x="23419" y="9237"/>
                  </a:lnTo>
                  <a:lnTo>
                    <a:pt x="21008" y="9425"/>
                  </a:lnTo>
                  <a:lnTo>
                    <a:pt x="18629" y="9644"/>
                  </a:lnTo>
                  <a:lnTo>
                    <a:pt x="16281" y="9894"/>
                  </a:lnTo>
                  <a:lnTo>
                    <a:pt x="13964" y="10176"/>
                  </a:lnTo>
                  <a:lnTo>
                    <a:pt x="11741" y="10520"/>
                  </a:lnTo>
                  <a:lnTo>
                    <a:pt x="9550" y="10927"/>
                  </a:lnTo>
                  <a:lnTo>
                    <a:pt x="7452" y="11334"/>
                  </a:lnTo>
                  <a:lnTo>
                    <a:pt x="5448" y="11804"/>
                  </a:lnTo>
                  <a:lnTo>
                    <a:pt x="3538" y="12336"/>
                  </a:lnTo>
                  <a:lnTo>
                    <a:pt x="3538" y="12336"/>
                  </a:lnTo>
                  <a:lnTo>
                    <a:pt x="2568" y="12618"/>
                  </a:lnTo>
                  <a:lnTo>
                    <a:pt x="2568" y="12618"/>
                  </a:lnTo>
                  <a:lnTo>
                    <a:pt x="2255" y="12681"/>
                  </a:lnTo>
                  <a:lnTo>
                    <a:pt x="1942" y="12712"/>
                  </a:lnTo>
                  <a:lnTo>
                    <a:pt x="1629" y="12649"/>
                  </a:lnTo>
                  <a:lnTo>
                    <a:pt x="1378" y="12556"/>
                  </a:lnTo>
                  <a:lnTo>
                    <a:pt x="1128" y="12430"/>
                  </a:lnTo>
                  <a:lnTo>
                    <a:pt x="940" y="12242"/>
                  </a:lnTo>
                  <a:lnTo>
                    <a:pt x="752" y="11992"/>
                  </a:lnTo>
                  <a:lnTo>
                    <a:pt x="564" y="11710"/>
                  </a:lnTo>
                  <a:lnTo>
                    <a:pt x="439" y="11397"/>
                  </a:lnTo>
                  <a:lnTo>
                    <a:pt x="314" y="11084"/>
                  </a:lnTo>
                  <a:lnTo>
                    <a:pt x="188" y="10708"/>
                  </a:lnTo>
                  <a:lnTo>
                    <a:pt x="126" y="10301"/>
                  </a:lnTo>
                  <a:lnTo>
                    <a:pt x="63" y="9894"/>
                  </a:lnTo>
                  <a:lnTo>
                    <a:pt x="32" y="9456"/>
                  </a:lnTo>
                  <a:lnTo>
                    <a:pt x="1" y="9018"/>
                  </a:lnTo>
                  <a:lnTo>
                    <a:pt x="1" y="8548"/>
                  </a:lnTo>
                  <a:lnTo>
                    <a:pt x="32" y="8078"/>
                  </a:lnTo>
                  <a:lnTo>
                    <a:pt x="95" y="7609"/>
                  </a:lnTo>
                  <a:lnTo>
                    <a:pt x="157" y="7171"/>
                  </a:lnTo>
                  <a:lnTo>
                    <a:pt x="220" y="6701"/>
                  </a:lnTo>
                  <a:lnTo>
                    <a:pt x="345" y="6231"/>
                  </a:lnTo>
                  <a:lnTo>
                    <a:pt x="439" y="5793"/>
                  </a:lnTo>
                  <a:lnTo>
                    <a:pt x="595" y="5386"/>
                  </a:lnTo>
                  <a:lnTo>
                    <a:pt x="752" y="4948"/>
                  </a:lnTo>
                  <a:lnTo>
                    <a:pt x="909" y="4572"/>
                  </a:lnTo>
                  <a:lnTo>
                    <a:pt x="1096" y="4228"/>
                  </a:lnTo>
                  <a:lnTo>
                    <a:pt x="1316" y="3883"/>
                  </a:lnTo>
                  <a:lnTo>
                    <a:pt x="1535" y="3601"/>
                  </a:lnTo>
                  <a:lnTo>
                    <a:pt x="1754" y="3320"/>
                  </a:lnTo>
                  <a:lnTo>
                    <a:pt x="2036" y="3100"/>
                  </a:lnTo>
                  <a:lnTo>
                    <a:pt x="2286" y="2944"/>
                  </a:lnTo>
                  <a:lnTo>
                    <a:pt x="2568" y="2819"/>
                  </a:lnTo>
                  <a:lnTo>
                    <a:pt x="2568" y="2819"/>
                  </a:lnTo>
                  <a:lnTo>
                    <a:pt x="3445" y="2537"/>
                  </a:lnTo>
                  <a:lnTo>
                    <a:pt x="4384" y="2255"/>
                  </a:lnTo>
                  <a:lnTo>
                    <a:pt x="5354" y="2005"/>
                  </a:lnTo>
                  <a:lnTo>
                    <a:pt x="6388" y="1754"/>
                  </a:lnTo>
                  <a:lnTo>
                    <a:pt x="7452" y="1535"/>
                  </a:lnTo>
                  <a:lnTo>
                    <a:pt x="8579" y="1347"/>
                  </a:lnTo>
                  <a:lnTo>
                    <a:pt x="9737" y="1159"/>
                  </a:lnTo>
                  <a:lnTo>
                    <a:pt x="10927" y="971"/>
                  </a:lnTo>
                  <a:lnTo>
                    <a:pt x="13401" y="690"/>
                  </a:lnTo>
                  <a:lnTo>
                    <a:pt x="15999" y="439"/>
                  </a:lnTo>
                  <a:lnTo>
                    <a:pt x="18692" y="283"/>
                  </a:lnTo>
                  <a:lnTo>
                    <a:pt x="21478" y="126"/>
                  </a:lnTo>
                  <a:lnTo>
                    <a:pt x="24296" y="64"/>
                  </a:lnTo>
                  <a:lnTo>
                    <a:pt x="27114" y="1"/>
                  </a:lnTo>
                  <a:lnTo>
                    <a:pt x="29994" y="32"/>
                  </a:lnTo>
                  <a:lnTo>
                    <a:pt x="32812" y="64"/>
                  </a:lnTo>
                  <a:lnTo>
                    <a:pt x="35629" y="126"/>
                  </a:lnTo>
                  <a:lnTo>
                    <a:pt x="38384" y="251"/>
                  </a:lnTo>
                  <a:lnTo>
                    <a:pt x="41046" y="377"/>
                  </a:lnTo>
                  <a:lnTo>
                    <a:pt x="43613" y="564"/>
                  </a:lnTo>
                  <a:lnTo>
                    <a:pt x="43613" y="564"/>
                  </a:lnTo>
                  <a:lnTo>
                    <a:pt x="46462" y="784"/>
                  </a:lnTo>
                  <a:lnTo>
                    <a:pt x="49092" y="1034"/>
                  </a:lnTo>
                  <a:lnTo>
                    <a:pt x="51503" y="1316"/>
                  </a:lnTo>
                  <a:lnTo>
                    <a:pt x="53632" y="1598"/>
                  </a:lnTo>
                  <a:lnTo>
                    <a:pt x="55479" y="1879"/>
                  </a:lnTo>
                  <a:lnTo>
                    <a:pt x="56261" y="2036"/>
                  </a:lnTo>
                  <a:lnTo>
                    <a:pt x="56982" y="2193"/>
                  </a:lnTo>
                  <a:lnTo>
                    <a:pt x="57576" y="2349"/>
                  </a:lnTo>
                  <a:lnTo>
                    <a:pt x="58109" y="2506"/>
                  </a:lnTo>
                  <a:lnTo>
                    <a:pt x="58516" y="2662"/>
                  </a:lnTo>
                  <a:lnTo>
                    <a:pt x="58829" y="2819"/>
                  </a:lnTo>
                  <a:lnTo>
                    <a:pt x="58829" y="2819"/>
                  </a:lnTo>
                  <a:lnTo>
                    <a:pt x="59142" y="3038"/>
                  </a:lnTo>
                  <a:lnTo>
                    <a:pt x="59455" y="3288"/>
                  </a:lnTo>
                  <a:lnTo>
                    <a:pt x="59768" y="3601"/>
                  </a:lnTo>
                  <a:lnTo>
                    <a:pt x="60018" y="3946"/>
                  </a:lnTo>
                  <a:lnTo>
                    <a:pt x="60269" y="4321"/>
                  </a:lnTo>
                  <a:lnTo>
                    <a:pt x="60488" y="4697"/>
                  </a:lnTo>
                  <a:lnTo>
                    <a:pt x="60707" y="5135"/>
                  </a:lnTo>
                  <a:lnTo>
                    <a:pt x="60864" y="5574"/>
                  </a:lnTo>
                  <a:lnTo>
                    <a:pt x="61052" y="6012"/>
                  </a:lnTo>
                  <a:lnTo>
                    <a:pt x="61177" y="6482"/>
                  </a:lnTo>
                  <a:lnTo>
                    <a:pt x="61302" y="6951"/>
                  </a:lnTo>
                  <a:lnTo>
                    <a:pt x="61396" y="7452"/>
                  </a:lnTo>
                  <a:lnTo>
                    <a:pt x="61459" y="7922"/>
                  </a:lnTo>
                  <a:lnTo>
                    <a:pt x="61521" y="8423"/>
                  </a:lnTo>
                  <a:lnTo>
                    <a:pt x="61553" y="8892"/>
                  </a:lnTo>
                  <a:lnTo>
                    <a:pt x="61553" y="9362"/>
                  </a:lnTo>
                  <a:lnTo>
                    <a:pt x="61553" y="9800"/>
                  </a:lnTo>
                  <a:lnTo>
                    <a:pt x="61521" y="10239"/>
                  </a:lnTo>
                  <a:lnTo>
                    <a:pt x="61459" y="10646"/>
                  </a:lnTo>
                  <a:lnTo>
                    <a:pt x="61396" y="11053"/>
                  </a:lnTo>
                  <a:lnTo>
                    <a:pt x="61302" y="11397"/>
                  </a:lnTo>
                  <a:lnTo>
                    <a:pt x="61177" y="11741"/>
                  </a:lnTo>
                  <a:lnTo>
                    <a:pt x="61052" y="12055"/>
                  </a:lnTo>
                  <a:lnTo>
                    <a:pt x="60864" y="12305"/>
                  </a:lnTo>
                  <a:lnTo>
                    <a:pt x="60707" y="12524"/>
                  </a:lnTo>
                  <a:lnTo>
                    <a:pt x="60488" y="12712"/>
                  </a:lnTo>
                  <a:lnTo>
                    <a:pt x="60269" y="12837"/>
                  </a:lnTo>
                  <a:lnTo>
                    <a:pt x="60018" y="12900"/>
                  </a:lnTo>
                  <a:lnTo>
                    <a:pt x="59768" y="12931"/>
                  </a:lnTo>
                  <a:lnTo>
                    <a:pt x="59455" y="12869"/>
                  </a:lnTo>
                  <a:lnTo>
                    <a:pt x="59142" y="12775"/>
                  </a:lnTo>
                  <a:lnTo>
                    <a:pt x="58829" y="12618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2" name="Google Shape;763;p138">
              <a:extLst>
                <a:ext uri="{FF2B5EF4-FFF2-40B4-BE49-F238E27FC236}">
                  <a16:creationId xmlns:a16="http://schemas.microsoft.com/office/drawing/2014/main" id="{7FA5C7F0-434F-8AE6-A01B-C3DC2B4BFDA8}"/>
                </a:ext>
              </a:extLst>
            </p:cNvPr>
            <p:cNvSpPr/>
            <p:nvPr/>
          </p:nvSpPr>
          <p:spPr>
            <a:xfrm>
              <a:off x="2038325" y="3558775"/>
              <a:ext cx="835175" cy="1197575"/>
            </a:xfrm>
            <a:custGeom>
              <a:avLst/>
              <a:gdLst/>
              <a:ahLst/>
              <a:cxnLst/>
              <a:rect l="l" t="t" r="r" b="b"/>
              <a:pathLst>
                <a:path w="33407" h="47903" extrusionOk="0">
                  <a:moveTo>
                    <a:pt x="15405" y="1"/>
                  </a:moveTo>
                  <a:lnTo>
                    <a:pt x="15091" y="1034"/>
                  </a:lnTo>
                  <a:lnTo>
                    <a:pt x="14810" y="2067"/>
                  </a:lnTo>
                  <a:lnTo>
                    <a:pt x="14528" y="3069"/>
                  </a:lnTo>
                  <a:lnTo>
                    <a:pt x="14277" y="4071"/>
                  </a:lnTo>
                  <a:lnTo>
                    <a:pt x="13839" y="6074"/>
                  </a:lnTo>
                  <a:lnTo>
                    <a:pt x="13495" y="8015"/>
                  </a:lnTo>
                  <a:lnTo>
                    <a:pt x="13182" y="9957"/>
                  </a:lnTo>
                  <a:lnTo>
                    <a:pt x="12962" y="11804"/>
                  </a:lnTo>
                  <a:lnTo>
                    <a:pt x="12743" y="13651"/>
                  </a:lnTo>
                  <a:lnTo>
                    <a:pt x="12587" y="15404"/>
                  </a:lnTo>
                  <a:lnTo>
                    <a:pt x="12462" y="17126"/>
                  </a:lnTo>
                  <a:lnTo>
                    <a:pt x="12368" y="18785"/>
                  </a:lnTo>
                  <a:lnTo>
                    <a:pt x="12180" y="21885"/>
                  </a:lnTo>
                  <a:lnTo>
                    <a:pt x="12055" y="23325"/>
                  </a:lnTo>
                  <a:lnTo>
                    <a:pt x="11961" y="24703"/>
                  </a:lnTo>
                  <a:lnTo>
                    <a:pt x="11804" y="26018"/>
                  </a:lnTo>
                  <a:lnTo>
                    <a:pt x="11648" y="27207"/>
                  </a:lnTo>
                  <a:lnTo>
                    <a:pt x="11303" y="29336"/>
                  </a:lnTo>
                  <a:lnTo>
                    <a:pt x="11084" y="30495"/>
                  </a:lnTo>
                  <a:lnTo>
                    <a:pt x="10834" y="31716"/>
                  </a:lnTo>
                  <a:lnTo>
                    <a:pt x="10520" y="32999"/>
                  </a:lnTo>
                  <a:lnTo>
                    <a:pt x="10113" y="34314"/>
                  </a:lnTo>
                  <a:lnTo>
                    <a:pt x="9675" y="35661"/>
                  </a:lnTo>
                  <a:lnTo>
                    <a:pt x="9393" y="36318"/>
                  </a:lnTo>
                  <a:lnTo>
                    <a:pt x="9112" y="37007"/>
                  </a:lnTo>
                  <a:lnTo>
                    <a:pt x="8798" y="37696"/>
                  </a:lnTo>
                  <a:lnTo>
                    <a:pt x="8454" y="38384"/>
                  </a:lnTo>
                  <a:lnTo>
                    <a:pt x="8078" y="39073"/>
                  </a:lnTo>
                  <a:lnTo>
                    <a:pt x="7703" y="39762"/>
                  </a:lnTo>
                  <a:lnTo>
                    <a:pt x="7264" y="40419"/>
                  </a:lnTo>
                  <a:lnTo>
                    <a:pt x="6795" y="41108"/>
                  </a:lnTo>
                  <a:lnTo>
                    <a:pt x="6294" y="41797"/>
                  </a:lnTo>
                  <a:lnTo>
                    <a:pt x="5762" y="42454"/>
                  </a:lnTo>
                  <a:lnTo>
                    <a:pt x="5198" y="43112"/>
                  </a:lnTo>
                  <a:lnTo>
                    <a:pt x="4572" y="43769"/>
                  </a:lnTo>
                  <a:lnTo>
                    <a:pt x="3914" y="44396"/>
                  </a:lnTo>
                  <a:lnTo>
                    <a:pt x="3226" y="45022"/>
                  </a:lnTo>
                  <a:lnTo>
                    <a:pt x="2474" y="45648"/>
                  </a:lnTo>
                  <a:lnTo>
                    <a:pt x="1692" y="46243"/>
                  </a:lnTo>
                  <a:lnTo>
                    <a:pt x="878" y="46838"/>
                  </a:lnTo>
                  <a:lnTo>
                    <a:pt x="1" y="47401"/>
                  </a:lnTo>
                  <a:lnTo>
                    <a:pt x="2067" y="47620"/>
                  </a:lnTo>
                  <a:lnTo>
                    <a:pt x="4196" y="47777"/>
                  </a:lnTo>
                  <a:lnTo>
                    <a:pt x="6356" y="47871"/>
                  </a:lnTo>
                  <a:lnTo>
                    <a:pt x="8485" y="47902"/>
                  </a:lnTo>
                  <a:lnTo>
                    <a:pt x="9863" y="47871"/>
                  </a:lnTo>
                  <a:lnTo>
                    <a:pt x="11178" y="47839"/>
                  </a:lnTo>
                  <a:lnTo>
                    <a:pt x="12524" y="47777"/>
                  </a:lnTo>
                  <a:lnTo>
                    <a:pt x="13808" y="47683"/>
                  </a:lnTo>
                  <a:lnTo>
                    <a:pt x="15060" y="47589"/>
                  </a:lnTo>
                  <a:lnTo>
                    <a:pt x="16250" y="47432"/>
                  </a:lnTo>
                  <a:lnTo>
                    <a:pt x="17408" y="47276"/>
                  </a:lnTo>
                  <a:lnTo>
                    <a:pt x="18504" y="47088"/>
                  </a:lnTo>
                  <a:lnTo>
                    <a:pt x="19569" y="46900"/>
                  </a:lnTo>
                  <a:lnTo>
                    <a:pt x="20539" y="46650"/>
                  </a:lnTo>
                  <a:lnTo>
                    <a:pt x="21416" y="46399"/>
                  </a:lnTo>
                  <a:lnTo>
                    <a:pt x="22230" y="46118"/>
                  </a:lnTo>
                  <a:lnTo>
                    <a:pt x="22950" y="45836"/>
                  </a:lnTo>
                  <a:lnTo>
                    <a:pt x="23607" y="45491"/>
                  </a:lnTo>
                  <a:lnTo>
                    <a:pt x="23858" y="45335"/>
                  </a:lnTo>
                  <a:lnTo>
                    <a:pt x="24140" y="45147"/>
                  </a:lnTo>
                  <a:lnTo>
                    <a:pt x="24359" y="44959"/>
                  </a:lnTo>
                  <a:lnTo>
                    <a:pt x="24547" y="44771"/>
                  </a:lnTo>
                  <a:lnTo>
                    <a:pt x="24703" y="44552"/>
                  </a:lnTo>
                  <a:lnTo>
                    <a:pt x="24891" y="44176"/>
                  </a:lnTo>
                  <a:lnTo>
                    <a:pt x="25110" y="43675"/>
                  </a:lnTo>
                  <a:lnTo>
                    <a:pt x="25329" y="43081"/>
                  </a:lnTo>
                  <a:lnTo>
                    <a:pt x="25861" y="41484"/>
                  </a:lnTo>
                  <a:lnTo>
                    <a:pt x="26425" y="39511"/>
                  </a:lnTo>
                  <a:lnTo>
                    <a:pt x="27051" y="37163"/>
                  </a:lnTo>
                  <a:lnTo>
                    <a:pt x="27709" y="34533"/>
                  </a:lnTo>
                  <a:lnTo>
                    <a:pt x="28397" y="31622"/>
                  </a:lnTo>
                  <a:lnTo>
                    <a:pt x="29086" y="28522"/>
                  </a:lnTo>
                  <a:lnTo>
                    <a:pt x="29775" y="25298"/>
                  </a:lnTo>
                  <a:lnTo>
                    <a:pt x="30464" y="21948"/>
                  </a:lnTo>
                  <a:lnTo>
                    <a:pt x="31090" y="18598"/>
                  </a:lnTo>
                  <a:lnTo>
                    <a:pt x="31685" y="15248"/>
                  </a:lnTo>
                  <a:lnTo>
                    <a:pt x="32248" y="11960"/>
                  </a:lnTo>
                  <a:lnTo>
                    <a:pt x="32718" y="8798"/>
                  </a:lnTo>
                  <a:lnTo>
                    <a:pt x="33125" y="5824"/>
                  </a:lnTo>
                  <a:lnTo>
                    <a:pt x="33407" y="3069"/>
                  </a:lnTo>
                  <a:lnTo>
                    <a:pt x="32749" y="2787"/>
                  </a:lnTo>
                  <a:lnTo>
                    <a:pt x="31998" y="2505"/>
                  </a:lnTo>
                  <a:lnTo>
                    <a:pt x="31153" y="2223"/>
                  </a:lnTo>
                  <a:lnTo>
                    <a:pt x="30276" y="1973"/>
                  </a:lnTo>
                  <a:lnTo>
                    <a:pt x="29305" y="1723"/>
                  </a:lnTo>
                  <a:lnTo>
                    <a:pt x="28303" y="1503"/>
                  </a:lnTo>
                  <a:lnTo>
                    <a:pt x="27208" y="1284"/>
                  </a:lnTo>
                  <a:lnTo>
                    <a:pt x="26081" y="1065"/>
                  </a:lnTo>
                  <a:lnTo>
                    <a:pt x="24891" y="909"/>
                  </a:lnTo>
                  <a:lnTo>
                    <a:pt x="23670" y="721"/>
                  </a:lnTo>
                  <a:lnTo>
                    <a:pt x="22386" y="564"/>
                  </a:lnTo>
                  <a:lnTo>
                    <a:pt x="21071" y="408"/>
                  </a:lnTo>
                  <a:lnTo>
                    <a:pt x="18316" y="188"/>
                  </a:lnTo>
                  <a:lnTo>
                    <a:pt x="15405" y="1"/>
                  </a:lnTo>
                  <a:close/>
                </a:path>
              </a:pathLst>
            </a:custGeom>
            <a:solidFill>
              <a:srgbClr val="464646">
                <a:alpha val="29800"/>
              </a:srgbClr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3" name="Google Shape;764;p138">
              <a:extLst>
                <a:ext uri="{FF2B5EF4-FFF2-40B4-BE49-F238E27FC236}">
                  <a16:creationId xmlns:a16="http://schemas.microsoft.com/office/drawing/2014/main" id="{DA5259F1-DF3C-B6C6-1C3F-40F6A5D74EF1}"/>
                </a:ext>
              </a:extLst>
            </p:cNvPr>
            <p:cNvSpPr/>
            <p:nvPr/>
          </p:nvSpPr>
          <p:spPr>
            <a:xfrm>
              <a:off x="2038325" y="3558775"/>
              <a:ext cx="835175" cy="1197575"/>
            </a:xfrm>
            <a:custGeom>
              <a:avLst/>
              <a:gdLst/>
              <a:ahLst/>
              <a:cxnLst/>
              <a:rect l="l" t="t" r="r" b="b"/>
              <a:pathLst>
                <a:path w="33407" h="47903" fill="none" extrusionOk="0">
                  <a:moveTo>
                    <a:pt x="15405" y="1"/>
                  </a:moveTo>
                  <a:lnTo>
                    <a:pt x="15405" y="1"/>
                  </a:lnTo>
                  <a:lnTo>
                    <a:pt x="15091" y="1034"/>
                  </a:lnTo>
                  <a:lnTo>
                    <a:pt x="14810" y="2067"/>
                  </a:lnTo>
                  <a:lnTo>
                    <a:pt x="14528" y="3069"/>
                  </a:lnTo>
                  <a:lnTo>
                    <a:pt x="14277" y="4071"/>
                  </a:lnTo>
                  <a:lnTo>
                    <a:pt x="13839" y="6074"/>
                  </a:lnTo>
                  <a:lnTo>
                    <a:pt x="13495" y="8015"/>
                  </a:lnTo>
                  <a:lnTo>
                    <a:pt x="13182" y="9957"/>
                  </a:lnTo>
                  <a:lnTo>
                    <a:pt x="12962" y="11804"/>
                  </a:lnTo>
                  <a:lnTo>
                    <a:pt x="12743" y="13651"/>
                  </a:lnTo>
                  <a:lnTo>
                    <a:pt x="12587" y="15404"/>
                  </a:lnTo>
                  <a:lnTo>
                    <a:pt x="12462" y="17126"/>
                  </a:lnTo>
                  <a:lnTo>
                    <a:pt x="12368" y="18785"/>
                  </a:lnTo>
                  <a:lnTo>
                    <a:pt x="12180" y="21885"/>
                  </a:lnTo>
                  <a:lnTo>
                    <a:pt x="12055" y="23325"/>
                  </a:lnTo>
                  <a:lnTo>
                    <a:pt x="11961" y="24703"/>
                  </a:lnTo>
                  <a:lnTo>
                    <a:pt x="11804" y="26018"/>
                  </a:lnTo>
                  <a:lnTo>
                    <a:pt x="11648" y="27207"/>
                  </a:lnTo>
                  <a:lnTo>
                    <a:pt x="11648" y="27207"/>
                  </a:lnTo>
                  <a:lnTo>
                    <a:pt x="11303" y="29336"/>
                  </a:lnTo>
                  <a:lnTo>
                    <a:pt x="11084" y="30495"/>
                  </a:lnTo>
                  <a:lnTo>
                    <a:pt x="10834" y="31716"/>
                  </a:lnTo>
                  <a:lnTo>
                    <a:pt x="10520" y="32999"/>
                  </a:lnTo>
                  <a:lnTo>
                    <a:pt x="10113" y="34314"/>
                  </a:lnTo>
                  <a:lnTo>
                    <a:pt x="9675" y="35661"/>
                  </a:lnTo>
                  <a:lnTo>
                    <a:pt x="9393" y="36318"/>
                  </a:lnTo>
                  <a:lnTo>
                    <a:pt x="9112" y="37007"/>
                  </a:lnTo>
                  <a:lnTo>
                    <a:pt x="8798" y="37696"/>
                  </a:lnTo>
                  <a:lnTo>
                    <a:pt x="8454" y="38384"/>
                  </a:lnTo>
                  <a:lnTo>
                    <a:pt x="8078" y="39073"/>
                  </a:lnTo>
                  <a:lnTo>
                    <a:pt x="7703" y="39762"/>
                  </a:lnTo>
                  <a:lnTo>
                    <a:pt x="7264" y="40419"/>
                  </a:lnTo>
                  <a:lnTo>
                    <a:pt x="6795" y="41108"/>
                  </a:lnTo>
                  <a:lnTo>
                    <a:pt x="6294" y="41797"/>
                  </a:lnTo>
                  <a:lnTo>
                    <a:pt x="5762" y="42454"/>
                  </a:lnTo>
                  <a:lnTo>
                    <a:pt x="5198" y="43112"/>
                  </a:lnTo>
                  <a:lnTo>
                    <a:pt x="4572" y="43769"/>
                  </a:lnTo>
                  <a:lnTo>
                    <a:pt x="3914" y="44396"/>
                  </a:lnTo>
                  <a:lnTo>
                    <a:pt x="3226" y="45022"/>
                  </a:lnTo>
                  <a:lnTo>
                    <a:pt x="2474" y="45648"/>
                  </a:lnTo>
                  <a:lnTo>
                    <a:pt x="1692" y="46243"/>
                  </a:lnTo>
                  <a:lnTo>
                    <a:pt x="878" y="46838"/>
                  </a:lnTo>
                  <a:lnTo>
                    <a:pt x="1" y="47401"/>
                  </a:lnTo>
                  <a:lnTo>
                    <a:pt x="1" y="47401"/>
                  </a:lnTo>
                  <a:lnTo>
                    <a:pt x="2067" y="47620"/>
                  </a:lnTo>
                  <a:lnTo>
                    <a:pt x="4196" y="47777"/>
                  </a:lnTo>
                  <a:lnTo>
                    <a:pt x="6356" y="47871"/>
                  </a:lnTo>
                  <a:lnTo>
                    <a:pt x="8485" y="47902"/>
                  </a:lnTo>
                  <a:lnTo>
                    <a:pt x="8485" y="47902"/>
                  </a:lnTo>
                  <a:lnTo>
                    <a:pt x="9863" y="47871"/>
                  </a:lnTo>
                  <a:lnTo>
                    <a:pt x="11178" y="47839"/>
                  </a:lnTo>
                  <a:lnTo>
                    <a:pt x="12524" y="47777"/>
                  </a:lnTo>
                  <a:lnTo>
                    <a:pt x="13808" y="47683"/>
                  </a:lnTo>
                  <a:lnTo>
                    <a:pt x="15060" y="47589"/>
                  </a:lnTo>
                  <a:lnTo>
                    <a:pt x="16250" y="47432"/>
                  </a:lnTo>
                  <a:lnTo>
                    <a:pt x="17408" y="47276"/>
                  </a:lnTo>
                  <a:lnTo>
                    <a:pt x="18504" y="47088"/>
                  </a:lnTo>
                  <a:lnTo>
                    <a:pt x="19569" y="46900"/>
                  </a:lnTo>
                  <a:lnTo>
                    <a:pt x="20539" y="46650"/>
                  </a:lnTo>
                  <a:lnTo>
                    <a:pt x="21416" y="46399"/>
                  </a:lnTo>
                  <a:lnTo>
                    <a:pt x="22230" y="46118"/>
                  </a:lnTo>
                  <a:lnTo>
                    <a:pt x="22950" y="45836"/>
                  </a:lnTo>
                  <a:lnTo>
                    <a:pt x="23607" y="45491"/>
                  </a:lnTo>
                  <a:lnTo>
                    <a:pt x="23858" y="45335"/>
                  </a:lnTo>
                  <a:lnTo>
                    <a:pt x="24140" y="45147"/>
                  </a:lnTo>
                  <a:lnTo>
                    <a:pt x="24359" y="44959"/>
                  </a:lnTo>
                  <a:lnTo>
                    <a:pt x="24547" y="44771"/>
                  </a:lnTo>
                  <a:lnTo>
                    <a:pt x="24547" y="44771"/>
                  </a:lnTo>
                  <a:lnTo>
                    <a:pt x="24703" y="44552"/>
                  </a:lnTo>
                  <a:lnTo>
                    <a:pt x="24891" y="44176"/>
                  </a:lnTo>
                  <a:lnTo>
                    <a:pt x="25110" y="43675"/>
                  </a:lnTo>
                  <a:lnTo>
                    <a:pt x="25329" y="43081"/>
                  </a:lnTo>
                  <a:lnTo>
                    <a:pt x="25861" y="41484"/>
                  </a:lnTo>
                  <a:lnTo>
                    <a:pt x="26425" y="39511"/>
                  </a:lnTo>
                  <a:lnTo>
                    <a:pt x="27051" y="37163"/>
                  </a:lnTo>
                  <a:lnTo>
                    <a:pt x="27709" y="34533"/>
                  </a:lnTo>
                  <a:lnTo>
                    <a:pt x="28397" y="31622"/>
                  </a:lnTo>
                  <a:lnTo>
                    <a:pt x="29086" y="28522"/>
                  </a:lnTo>
                  <a:lnTo>
                    <a:pt x="29775" y="25298"/>
                  </a:lnTo>
                  <a:lnTo>
                    <a:pt x="30464" y="21948"/>
                  </a:lnTo>
                  <a:lnTo>
                    <a:pt x="31090" y="18598"/>
                  </a:lnTo>
                  <a:lnTo>
                    <a:pt x="31685" y="15248"/>
                  </a:lnTo>
                  <a:lnTo>
                    <a:pt x="32248" y="11960"/>
                  </a:lnTo>
                  <a:lnTo>
                    <a:pt x="32718" y="8798"/>
                  </a:lnTo>
                  <a:lnTo>
                    <a:pt x="33125" y="5824"/>
                  </a:lnTo>
                  <a:lnTo>
                    <a:pt x="33407" y="3069"/>
                  </a:lnTo>
                  <a:lnTo>
                    <a:pt x="33407" y="3069"/>
                  </a:lnTo>
                  <a:lnTo>
                    <a:pt x="32749" y="2787"/>
                  </a:lnTo>
                  <a:lnTo>
                    <a:pt x="31998" y="2505"/>
                  </a:lnTo>
                  <a:lnTo>
                    <a:pt x="31153" y="2223"/>
                  </a:lnTo>
                  <a:lnTo>
                    <a:pt x="30276" y="1973"/>
                  </a:lnTo>
                  <a:lnTo>
                    <a:pt x="29305" y="1723"/>
                  </a:lnTo>
                  <a:lnTo>
                    <a:pt x="28303" y="1503"/>
                  </a:lnTo>
                  <a:lnTo>
                    <a:pt x="27208" y="1284"/>
                  </a:lnTo>
                  <a:lnTo>
                    <a:pt x="26081" y="1065"/>
                  </a:lnTo>
                  <a:lnTo>
                    <a:pt x="24891" y="909"/>
                  </a:lnTo>
                  <a:lnTo>
                    <a:pt x="23670" y="721"/>
                  </a:lnTo>
                  <a:lnTo>
                    <a:pt x="22386" y="564"/>
                  </a:lnTo>
                  <a:lnTo>
                    <a:pt x="21071" y="408"/>
                  </a:lnTo>
                  <a:lnTo>
                    <a:pt x="18316" y="188"/>
                  </a:lnTo>
                  <a:lnTo>
                    <a:pt x="15405" y="1"/>
                  </a:lnTo>
                  <a:lnTo>
                    <a:pt x="15405" y="1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4" name="Google Shape;765;p138">
              <a:extLst>
                <a:ext uri="{FF2B5EF4-FFF2-40B4-BE49-F238E27FC236}">
                  <a16:creationId xmlns:a16="http://schemas.microsoft.com/office/drawing/2014/main" id="{969BBA6B-9DD9-734F-81A1-86A69CA251C2}"/>
                </a:ext>
              </a:extLst>
            </p:cNvPr>
            <p:cNvSpPr/>
            <p:nvPr/>
          </p:nvSpPr>
          <p:spPr>
            <a:xfrm>
              <a:off x="2423425" y="3345100"/>
              <a:ext cx="538525" cy="309200"/>
            </a:xfrm>
            <a:custGeom>
              <a:avLst/>
              <a:gdLst/>
              <a:ahLst/>
              <a:cxnLst/>
              <a:rect l="l" t="t" r="r" b="b"/>
              <a:pathLst>
                <a:path w="21541" h="12368" extrusionOk="0">
                  <a:moveTo>
                    <a:pt x="3601" y="0"/>
                  </a:moveTo>
                  <a:lnTo>
                    <a:pt x="3069" y="1034"/>
                  </a:lnTo>
                  <a:lnTo>
                    <a:pt x="2536" y="2098"/>
                  </a:lnTo>
                  <a:lnTo>
                    <a:pt x="1816" y="3726"/>
                  </a:lnTo>
                  <a:lnTo>
                    <a:pt x="1128" y="5354"/>
                  </a:lnTo>
                  <a:lnTo>
                    <a:pt x="533" y="6951"/>
                  </a:lnTo>
                  <a:lnTo>
                    <a:pt x="1" y="8548"/>
                  </a:lnTo>
                  <a:lnTo>
                    <a:pt x="2912" y="8735"/>
                  </a:lnTo>
                  <a:lnTo>
                    <a:pt x="5667" y="8955"/>
                  </a:lnTo>
                  <a:lnTo>
                    <a:pt x="6982" y="9111"/>
                  </a:lnTo>
                  <a:lnTo>
                    <a:pt x="8266" y="9268"/>
                  </a:lnTo>
                  <a:lnTo>
                    <a:pt x="9487" y="9456"/>
                  </a:lnTo>
                  <a:lnTo>
                    <a:pt x="10677" y="9612"/>
                  </a:lnTo>
                  <a:lnTo>
                    <a:pt x="11804" y="9831"/>
                  </a:lnTo>
                  <a:lnTo>
                    <a:pt x="12899" y="10050"/>
                  </a:lnTo>
                  <a:lnTo>
                    <a:pt x="13901" y="10270"/>
                  </a:lnTo>
                  <a:lnTo>
                    <a:pt x="14872" y="10520"/>
                  </a:lnTo>
                  <a:lnTo>
                    <a:pt x="15749" y="10770"/>
                  </a:lnTo>
                  <a:lnTo>
                    <a:pt x="16594" y="11052"/>
                  </a:lnTo>
                  <a:lnTo>
                    <a:pt x="17345" y="11334"/>
                  </a:lnTo>
                  <a:lnTo>
                    <a:pt x="18003" y="11616"/>
                  </a:lnTo>
                  <a:lnTo>
                    <a:pt x="18441" y="11835"/>
                  </a:lnTo>
                  <a:lnTo>
                    <a:pt x="18817" y="12054"/>
                  </a:lnTo>
                  <a:lnTo>
                    <a:pt x="19067" y="12179"/>
                  </a:lnTo>
                  <a:lnTo>
                    <a:pt x="19318" y="12273"/>
                  </a:lnTo>
                  <a:lnTo>
                    <a:pt x="19568" y="12336"/>
                  </a:lnTo>
                  <a:lnTo>
                    <a:pt x="19787" y="12367"/>
                  </a:lnTo>
                  <a:lnTo>
                    <a:pt x="20006" y="12336"/>
                  </a:lnTo>
                  <a:lnTo>
                    <a:pt x="20194" y="12273"/>
                  </a:lnTo>
                  <a:lnTo>
                    <a:pt x="20382" y="12211"/>
                  </a:lnTo>
                  <a:lnTo>
                    <a:pt x="20570" y="12085"/>
                  </a:lnTo>
                  <a:lnTo>
                    <a:pt x="20727" y="11929"/>
                  </a:lnTo>
                  <a:lnTo>
                    <a:pt x="20852" y="11741"/>
                  </a:lnTo>
                  <a:lnTo>
                    <a:pt x="21008" y="11553"/>
                  </a:lnTo>
                  <a:lnTo>
                    <a:pt x="21102" y="11303"/>
                  </a:lnTo>
                  <a:lnTo>
                    <a:pt x="21227" y="11052"/>
                  </a:lnTo>
                  <a:lnTo>
                    <a:pt x="21290" y="10770"/>
                  </a:lnTo>
                  <a:lnTo>
                    <a:pt x="21447" y="10176"/>
                  </a:lnTo>
                  <a:lnTo>
                    <a:pt x="21509" y="9487"/>
                  </a:lnTo>
                  <a:lnTo>
                    <a:pt x="21541" y="8767"/>
                  </a:lnTo>
                  <a:lnTo>
                    <a:pt x="21541" y="8297"/>
                  </a:lnTo>
                  <a:lnTo>
                    <a:pt x="21509" y="7828"/>
                  </a:lnTo>
                  <a:lnTo>
                    <a:pt x="21447" y="7358"/>
                  </a:lnTo>
                  <a:lnTo>
                    <a:pt x="21384" y="6888"/>
                  </a:lnTo>
                  <a:lnTo>
                    <a:pt x="21290" y="6387"/>
                  </a:lnTo>
                  <a:lnTo>
                    <a:pt x="21165" y="5918"/>
                  </a:lnTo>
                  <a:lnTo>
                    <a:pt x="21040" y="5448"/>
                  </a:lnTo>
                  <a:lnTo>
                    <a:pt x="20852" y="5010"/>
                  </a:lnTo>
                  <a:lnTo>
                    <a:pt x="20695" y="4571"/>
                  </a:lnTo>
                  <a:lnTo>
                    <a:pt x="20476" y="4133"/>
                  </a:lnTo>
                  <a:lnTo>
                    <a:pt x="20257" y="3757"/>
                  </a:lnTo>
                  <a:lnTo>
                    <a:pt x="20006" y="3382"/>
                  </a:lnTo>
                  <a:lnTo>
                    <a:pt x="19756" y="3037"/>
                  </a:lnTo>
                  <a:lnTo>
                    <a:pt x="19443" y="2724"/>
                  </a:lnTo>
                  <a:lnTo>
                    <a:pt x="19130" y="2474"/>
                  </a:lnTo>
                  <a:lnTo>
                    <a:pt x="18817" y="2255"/>
                  </a:lnTo>
                  <a:lnTo>
                    <a:pt x="18504" y="2098"/>
                  </a:lnTo>
                  <a:lnTo>
                    <a:pt x="18097" y="1942"/>
                  </a:lnTo>
                  <a:lnTo>
                    <a:pt x="17564" y="1785"/>
                  </a:lnTo>
                  <a:lnTo>
                    <a:pt x="16970" y="1629"/>
                  </a:lnTo>
                  <a:lnTo>
                    <a:pt x="16249" y="1472"/>
                  </a:lnTo>
                  <a:lnTo>
                    <a:pt x="15467" y="1315"/>
                  </a:lnTo>
                  <a:lnTo>
                    <a:pt x="13620" y="1034"/>
                  </a:lnTo>
                  <a:lnTo>
                    <a:pt x="11491" y="752"/>
                  </a:lnTo>
                  <a:lnTo>
                    <a:pt x="9080" y="470"/>
                  </a:lnTo>
                  <a:lnTo>
                    <a:pt x="6450" y="220"/>
                  </a:lnTo>
                  <a:lnTo>
                    <a:pt x="3601" y="0"/>
                  </a:lnTo>
                  <a:close/>
                </a:path>
              </a:pathLst>
            </a:custGeom>
            <a:solidFill>
              <a:srgbClr val="663526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5" name="Google Shape;766;p138">
              <a:extLst>
                <a:ext uri="{FF2B5EF4-FFF2-40B4-BE49-F238E27FC236}">
                  <a16:creationId xmlns:a16="http://schemas.microsoft.com/office/drawing/2014/main" id="{A3583CF8-F42A-E3B7-CC31-C2FBE0324143}"/>
                </a:ext>
              </a:extLst>
            </p:cNvPr>
            <p:cNvSpPr/>
            <p:nvPr/>
          </p:nvSpPr>
          <p:spPr>
            <a:xfrm>
              <a:off x="2423425" y="3345100"/>
              <a:ext cx="538525" cy="309200"/>
            </a:xfrm>
            <a:custGeom>
              <a:avLst/>
              <a:gdLst/>
              <a:ahLst/>
              <a:cxnLst/>
              <a:rect l="l" t="t" r="r" b="b"/>
              <a:pathLst>
                <a:path w="21541" h="12368" fill="none" extrusionOk="0">
                  <a:moveTo>
                    <a:pt x="3601" y="0"/>
                  </a:moveTo>
                  <a:lnTo>
                    <a:pt x="3601" y="0"/>
                  </a:lnTo>
                  <a:lnTo>
                    <a:pt x="3069" y="1034"/>
                  </a:lnTo>
                  <a:lnTo>
                    <a:pt x="2536" y="2098"/>
                  </a:lnTo>
                  <a:lnTo>
                    <a:pt x="2536" y="2098"/>
                  </a:lnTo>
                  <a:lnTo>
                    <a:pt x="1816" y="3726"/>
                  </a:lnTo>
                  <a:lnTo>
                    <a:pt x="1128" y="5354"/>
                  </a:lnTo>
                  <a:lnTo>
                    <a:pt x="533" y="6951"/>
                  </a:lnTo>
                  <a:lnTo>
                    <a:pt x="1" y="8548"/>
                  </a:lnTo>
                  <a:lnTo>
                    <a:pt x="1" y="8548"/>
                  </a:lnTo>
                  <a:lnTo>
                    <a:pt x="1" y="8548"/>
                  </a:lnTo>
                  <a:lnTo>
                    <a:pt x="1" y="8548"/>
                  </a:lnTo>
                  <a:lnTo>
                    <a:pt x="2912" y="8735"/>
                  </a:lnTo>
                  <a:lnTo>
                    <a:pt x="5667" y="8955"/>
                  </a:lnTo>
                  <a:lnTo>
                    <a:pt x="6982" y="9111"/>
                  </a:lnTo>
                  <a:lnTo>
                    <a:pt x="8266" y="9268"/>
                  </a:lnTo>
                  <a:lnTo>
                    <a:pt x="9487" y="9456"/>
                  </a:lnTo>
                  <a:lnTo>
                    <a:pt x="10677" y="9612"/>
                  </a:lnTo>
                  <a:lnTo>
                    <a:pt x="11804" y="9831"/>
                  </a:lnTo>
                  <a:lnTo>
                    <a:pt x="12899" y="10050"/>
                  </a:lnTo>
                  <a:lnTo>
                    <a:pt x="13901" y="10270"/>
                  </a:lnTo>
                  <a:lnTo>
                    <a:pt x="14872" y="10520"/>
                  </a:lnTo>
                  <a:lnTo>
                    <a:pt x="15749" y="10770"/>
                  </a:lnTo>
                  <a:lnTo>
                    <a:pt x="16594" y="11052"/>
                  </a:lnTo>
                  <a:lnTo>
                    <a:pt x="17345" y="11334"/>
                  </a:lnTo>
                  <a:lnTo>
                    <a:pt x="18003" y="11616"/>
                  </a:lnTo>
                  <a:lnTo>
                    <a:pt x="18003" y="11616"/>
                  </a:lnTo>
                  <a:lnTo>
                    <a:pt x="18003" y="11616"/>
                  </a:lnTo>
                  <a:lnTo>
                    <a:pt x="18441" y="11835"/>
                  </a:lnTo>
                  <a:lnTo>
                    <a:pt x="18817" y="12054"/>
                  </a:lnTo>
                  <a:lnTo>
                    <a:pt x="18817" y="12054"/>
                  </a:lnTo>
                  <a:lnTo>
                    <a:pt x="19067" y="12179"/>
                  </a:lnTo>
                  <a:lnTo>
                    <a:pt x="19318" y="12273"/>
                  </a:lnTo>
                  <a:lnTo>
                    <a:pt x="19568" y="12336"/>
                  </a:lnTo>
                  <a:lnTo>
                    <a:pt x="19787" y="12367"/>
                  </a:lnTo>
                  <a:lnTo>
                    <a:pt x="19787" y="12367"/>
                  </a:lnTo>
                  <a:lnTo>
                    <a:pt x="20006" y="12336"/>
                  </a:lnTo>
                  <a:lnTo>
                    <a:pt x="20194" y="12273"/>
                  </a:lnTo>
                  <a:lnTo>
                    <a:pt x="20382" y="12211"/>
                  </a:lnTo>
                  <a:lnTo>
                    <a:pt x="20570" y="12085"/>
                  </a:lnTo>
                  <a:lnTo>
                    <a:pt x="20727" y="11929"/>
                  </a:lnTo>
                  <a:lnTo>
                    <a:pt x="20852" y="11741"/>
                  </a:lnTo>
                  <a:lnTo>
                    <a:pt x="21008" y="11553"/>
                  </a:lnTo>
                  <a:lnTo>
                    <a:pt x="21102" y="11303"/>
                  </a:lnTo>
                  <a:lnTo>
                    <a:pt x="21227" y="11052"/>
                  </a:lnTo>
                  <a:lnTo>
                    <a:pt x="21290" y="10770"/>
                  </a:lnTo>
                  <a:lnTo>
                    <a:pt x="21447" y="10176"/>
                  </a:lnTo>
                  <a:lnTo>
                    <a:pt x="21509" y="9487"/>
                  </a:lnTo>
                  <a:lnTo>
                    <a:pt x="21541" y="8767"/>
                  </a:lnTo>
                  <a:lnTo>
                    <a:pt x="21541" y="8767"/>
                  </a:lnTo>
                  <a:lnTo>
                    <a:pt x="21541" y="8297"/>
                  </a:lnTo>
                  <a:lnTo>
                    <a:pt x="21509" y="7828"/>
                  </a:lnTo>
                  <a:lnTo>
                    <a:pt x="21447" y="7358"/>
                  </a:lnTo>
                  <a:lnTo>
                    <a:pt x="21384" y="6888"/>
                  </a:lnTo>
                  <a:lnTo>
                    <a:pt x="21290" y="6387"/>
                  </a:lnTo>
                  <a:lnTo>
                    <a:pt x="21165" y="5918"/>
                  </a:lnTo>
                  <a:lnTo>
                    <a:pt x="21040" y="5448"/>
                  </a:lnTo>
                  <a:lnTo>
                    <a:pt x="20852" y="5010"/>
                  </a:lnTo>
                  <a:lnTo>
                    <a:pt x="20695" y="4571"/>
                  </a:lnTo>
                  <a:lnTo>
                    <a:pt x="20476" y="4133"/>
                  </a:lnTo>
                  <a:lnTo>
                    <a:pt x="20257" y="3757"/>
                  </a:lnTo>
                  <a:lnTo>
                    <a:pt x="20006" y="3382"/>
                  </a:lnTo>
                  <a:lnTo>
                    <a:pt x="19756" y="3037"/>
                  </a:lnTo>
                  <a:lnTo>
                    <a:pt x="19443" y="2724"/>
                  </a:lnTo>
                  <a:lnTo>
                    <a:pt x="19130" y="2474"/>
                  </a:lnTo>
                  <a:lnTo>
                    <a:pt x="18817" y="2255"/>
                  </a:lnTo>
                  <a:lnTo>
                    <a:pt x="18817" y="2255"/>
                  </a:lnTo>
                  <a:lnTo>
                    <a:pt x="18504" y="2098"/>
                  </a:lnTo>
                  <a:lnTo>
                    <a:pt x="18097" y="1942"/>
                  </a:lnTo>
                  <a:lnTo>
                    <a:pt x="17564" y="1785"/>
                  </a:lnTo>
                  <a:lnTo>
                    <a:pt x="16970" y="1629"/>
                  </a:lnTo>
                  <a:lnTo>
                    <a:pt x="16249" y="1472"/>
                  </a:lnTo>
                  <a:lnTo>
                    <a:pt x="15467" y="1315"/>
                  </a:lnTo>
                  <a:lnTo>
                    <a:pt x="13620" y="1034"/>
                  </a:lnTo>
                  <a:lnTo>
                    <a:pt x="11491" y="752"/>
                  </a:lnTo>
                  <a:lnTo>
                    <a:pt x="9080" y="470"/>
                  </a:lnTo>
                  <a:lnTo>
                    <a:pt x="6450" y="220"/>
                  </a:lnTo>
                  <a:lnTo>
                    <a:pt x="3601" y="0"/>
                  </a:lnTo>
                  <a:lnTo>
                    <a:pt x="360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6" name="Google Shape;767;p138">
              <a:extLst>
                <a:ext uri="{FF2B5EF4-FFF2-40B4-BE49-F238E27FC236}">
                  <a16:creationId xmlns:a16="http://schemas.microsoft.com/office/drawing/2014/main" id="{155C275A-8C60-EED3-AB0E-73D874791FE6}"/>
                </a:ext>
              </a:extLst>
            </p:cNvPr>
            <p:cNvSpPr/>
            <p:nvPr/>
          </p:nvSpPr>
          <p:spPr>
            <a:xfrm>
              <a:off x="238125" y="2380025"/>
              <a:ext cx="7143750" cy="2792700"/>
            </a:xfrm>
            <a:custGeom>
              <a:avLst/>
              <a:gdLst/>
              <a:ahLst/>
              <a:cxnLst/>
              <a:rect l="l" t="t" r="r" b="b"/>
              <a:pathLst>
                <a:path w="285750" h="111708" extrusionOk="0">
                  <a:moveTo>
                    <a:pt x="285750" y="1"/>
                  </a:moveTo>
                  <a:lnTo>
                    <a:pt x="266120" y="6419"/>
                  </a:lnTo>
                  <a:lnTo>
                    <a:pt x="246521" y="12806"/>
                  </a:lnTo>
                  <a:lnTo>
                    <a:pt x="210297" y="24577"/>
                  </a:lnTo>
                  <a:lnTo>
                    <a:pt x="208513" y="25172"/>
                  </a:lnTo>
                  <a:lnTo>
                    <a:pt x="203378" y="26832"/>
                  </a:lnTo>
                  <a:lnTo>
                    <a:pt x="198619" y="28366"/>
                  </a:lnTo>
                  <a:lnTo>
                    <a:pt x="184562" y="32937"/>
                  </a:lnTo>
                  <a:lnTo>
                    <a:pt x="183122" y="33406"/>
                  </a:lnTo>
                  <a:lnTo>
                    <a:pt x="175608" y="35817"/>
                  </a:lnTo>
                  <a:lnTo>
                    <a:pt x="174794" y="36068"/>
                  </a:lnTo>
                  <a:lnTo>
                    <a:pt x="173948" y="36318"/>
                  </a:lnTo>
                  <a:lnTo>
                    <a:pt x="173072" y="36506"/>
                  </a:lnTo>
                  <a:lnTo>
                    <a:pt x="172226" y="36662"/>
                  </a:lnTo>
                  <a:lnTo>
                    <a:pt x="171350" y="36819"/>
                  </a:lnTo>
                  <a:lnTo>
                    <a:pt x="170504" y="36913"/>
                  </a:lnTo>
                  <a:lnTo>
                    <a:pt x="169628" y="37007"/>
                  </a:lnTo>
                  <a:lnTo>
                    <a:pt x="168751" y="37038"/>
                  </a:lnTo>
                  <a:lnTo>
                    <a:pt x="167875" y="37069"/>
                  </a:lnTo>
                  <a:lnTo>
                    <a:pt x="166998" y="37069"/>
                  </a:lnTo>
                  <a:lnTo>
                    <a:pt x="166153" y="37007"/>
                  </a:lnTo>
                  <a:lnTo>
                    <a:pt x="165276" y="36944"/>
                  </a:lnTo>
                  <a:lnTo>
                    <a:pt x="164399" y="36850"/>
                  </a:lnTo>
                  <a:lnTo>
                    <a:pt x="163554" y="36725"/>
                  </a:lnTo>
                  <a:lnTo>
                    <a:pt x="162677" y="36568"/>
                  </a:lnTo>
                  <a:lnTo>
                    <a:pt x="161832" y="36349"/>
                  </a:lnTo>
                  <a:lnTo>
                    <a:pt x="159484" y="35817"/>
                  </a:lnTo>
                  <a:lnTo>
                    <a:pt x="157042" y="35285"/>
                  </a:lnTo>
                  <a:lnTo>
                    <a:pt x="154506" y="34784"/>
                  </a:lnTo>
                  <a:lnTo>
                    <a:pt x="151876" y="34314"/>
                  </a:lnTo>
                  <a:lnTo>
                    <a:pt x="149184" y="33876"/>
                  </a:lnTo>
                  <a:lnTo>
                    <a:pt x="146428" y="33469"/>
                  </a:lnTo>
                  <a:lnTo>
                    <a:pt x="143642" y="33062"/>
                  </a:lnTo>
                  <a:lnTo>
                    <a:pt x="140762" y="32686"/>
                  </a:lnTo>
                  <a:lnTo>
                    <a:pt x="137850" y="32342"/>
                  </a:lnTo>
                  <a:lnTo>
                    <a:pt x="134938" y="32029"/>
                  </a:lnTo>
                  <a:lnTo>
                    <a:pt x="131964" y="31747"/>
                  </a:lnTo>
                  <a:lnTo>
                    <a:pt x="128990" y="31465"/>
                  </a:lnTo>
                  <a:lnTo>
                    <a:pt x="126016" y="31215"/>
                  </a:lnTo>
                  <a:lnTo>
                    <a:pt x="123041" y="30964"/>
                  </a:lnTo>
                  <a:lnTo>
                    <a:pt x="120067" y="30745"/>
                  </a:lnTo>
                  <a:lnTo>
                    <a:pt x="117124" y="30557"/>
                  </a:lnTo>
                  <a:lnTo>
                    <a:pt x="115214" y="30463"/>
                  </a:lnTo>
                  <a:lnTo>
                    <a:pt x="114557" y="30401"/>
                  </a:lnTo>
                  <a:lnTo>
                    <a:pt x="109673" y="30182"/>
                  </a:lnTo>
                  <a:lnTo>
                    <a:pt x="104945" y="29962"/>
                  </a:lnTo>
                  <a:lnTo>
                    <a:pt x="104100" y="29931"/>
                  </a:lnTo>
                  <a:lnTo>
                    <a:pt x="103411" y="29931"/>
                  </a:lnTo>
                  <a:lnTo>
                    <a:pt x="102347" y="29869"/>
                  </a:lnTo>
                  <a:lnTo>
                    <a:pt x="98527" y="29775"/>
                  </a:lnTo>
                  <a:lnTo>
                    <a:pt x="98308" y="29775"/>
                  </a:lnTo>
                  <a:lnTo>
                    <a:pt x="93893" y="29712"/>
                  </a:lnTo>
                  <a:lnTo>
                    <a:pt x="89823" y="29681"/>
                  </a:lnTo>
                  <a:lnTo>
                    <a:pt x="86974" y="29681"/>
                  </a:lnTo>
                  <a:lnTo>
                    <a:pt x="83969" y="29743"/>
                  </a:lnTo>
                  <a:lnTo>
                    <a:pt x="81245" y="29806"/>
                  </a:lnTo>
                  <a:lnTo>
                    <a:pt x="80994" y="29837"/>
                  </a:lnTo>
                  <a:lnTo>
                    <a:pt x="79679" y="29900"/>
                  </a:lnTo>
                  <a:lnTo>
                    <a:pt x="77613" y="29994"/>
                  </a:lnTo>
                  <a:lnTo>
                    <a:pt x="76549" y="30088"/>
                  </a:lnTo>
                  <a:lnTo>
                    <a:pt x="76455" y="30119"/>
                  </a:lnTo>
                  <a:lnTo>
                    <a:pt x="76016" y="30150"/>
                  </a:lnTo>
                  <a:lnTo>
                    <a:pt x="75390" y="30276"/>
                  </a:lnTo>
                  <a:lnTo>
                    <a:pt x="75108" y="30338"/>
                  </a:lnTo>
                  <a:lnTo>
                    <a:pt x="75077" y="30369"/>
                  </a:lnTo>
                  <a:lnTo>
                    <a:pt x="74326" y="30557"/>
                  </a:lnTo>
                  <a:lnTo>
                    <a:pt x="73543" y="30839"/>
                  </a:lnTo>
                  <a:lnTo>
                    <a:pt x="73230" y="30964"/>
                  </a:lnTo>
                  <a:lnTo>
                    <a:pt x="72886" y="31121"/>
                  </a:lnTo>
                  <a:lnTo>
                    <a:pt x="72572" y="31309"/>
                  </a:lnTo>
                  <a:lnTo>
                    <a:pt x="72291" y="31497"/>
                  </a:lnTo>
                  <a:lnTo>
                    <a:pt x="72009" y="31716"/>
                  </a:lnTo>
                  <a:lnTo>
                    <a:pt x="71790" y="31935"/>
                  </a:lnTo>
                  <a:lnTo>
                    <a:pt x="71602" y="32185"/>
                  </a:lnTo>
                  <a:lnTo>
                    <a:pt x="71477" y="32436"/>
                  </a:lnTo>
                  <a:lnTo>
                    <a:pt x="71414" y="32718"/>
                  </a:lnTo>
                  <a:lnTo>
                    <a:pt x="71414" y="32968"/>
                  </a:lnTo>
                  <a:lnTo>
                    <a:pt x="71445" y="33218"/>
                  </a:lnTo>
                  <a:lnTo>
                    <a:pt x="71539" y="33500"/>
                  </a:lnTo>
                  <a:lnTo>
                    <a:pt x="71696" y="33782"/>
                  </a:lnTo>
                  <a:lnTo>
                    <a:pt x="72197" y="34533"/>
                  </a:lnTo>
                  <a:lnTo>
                    <a:pt x="72228" y="34565"/>
                  </a:lnTo>
                  <a:lnTo>
                    <a:pt x="72666" y="35222"/>
                  </a:lnTo>
                  <a:lnTo>
                    <a:pt x="73606" y="36506"/>
                  </a:lnTo>
                  <a:lnTo>
                    <a:pt x="73731" y="36662"/>
                  </a:lnTo>
                  <a:lnTo>
                    <a:pt x="74670" y="37883"/>
                  </a:lnTo>
                  <a:lnTo>
                    <a:pt x="74701" y="37915"/>
                  </a:lnTo>
                  <a:lnTo>
                    <a:pt x="75202" y="38541"/>
                  </a:lnTo>
                  <a:lnTo>
                    <a:pt x="75547" y="38917"/>
                  </a:lnTo>
                  <a:lnTo>
                    <a:pt x="76423" y="39856"/>
                  </a:lnTo>
                  <a:lnTo>
                    <a:pt x="77112" y="40576"/>
                  </a:lnTo>
                  <a:lnTo>
                    <a:pt x="77269" y="40732"/>
                  </a:lnTo>
                  <a:lnTo>
                    <a:pt x="77300" y="40764"/>
                  </a:lnTo>
                  <a:lnTo>
                    <a:pt x="77331" y="40795"/>
                  </a:lnTo>
                  <a:lnTo>
                    <a:pt x="78083" y="41515"/>
                  </a:lnTo>
                  <a:lnTo>
                    <a:pt x="78834" y="42173"/>
                  </a:lnTo>
                  <a:lnTo>
                    <a:pt x="79178" y="42486"/>
                  </a:lnTo>
                  <a:lnTo>
                    <a:pt x="80337" y="43425"/>
                  </a:lnTo>
                  <a:lnTo>
                    <a:pt x="80681" y="43675"/>
                  </a:lnTo>
                  <a:lnTo>
                    <a:pt x="80869" y="43801"/>
                  </a:lnTo>
                  <a:lnTo>
                    <a:pt x="81683" y="44395"/>
                  </a:lnTo>
                  <a:lnTo>
                    <a:pt x="82497" y="44928"/>
                  </a:lnTo>
                  <a:lnTo>
                    <a:pt x="83342" y="45460"/>
                  </a:lnTo>
                  <a:lnTo>
                    <a:pt x="84188" y="45930"/>
                  </a:lnTo>
                  <a:lnTo>
                    <a:pt x="84563" y="46149"/>
                  </a:lnTo>
                  <a:lnTo>
                    <a:pt x="85284" y="46524"/>
                  </a:lnTo>
                  <a:lnTo>
                    <a:pt x="86567" y="47151"/>
                  </a:lnTo>
                  <a:lnTo>
                    <a:pt x="87851" y="47714"/>
                  </a:lnTo>
                  <a:lnTo>
                    <a:pt x="88133" y="47808"/>
                  </a:lnTo>
                  <a:lnTo>
                    <a:pt x="89009" y="48152"/>
                  </a:lnTo>
                  <a:lnTo>
                    <a:pt x="89886" y="48466"/>
                  </a:lnTo>
                  <a:lnTo>
                    <a:pt x="90919" y="48810"/>
                  </a:lnTo>
                  <a:lnTo>
                    <a:pt x="91702" y="49060"/>
                  </a:lnTo>
                  <a:lnTo>
                    <a:pt x="91890" y="49123"/>
                  </a:lnTo>
                  <a:lnTo>
                    <a:pt x="93737" y="49624"/>
                  </a:lnTo>
                  <a:lnTo>
                    <a:pt x="95553" y="50094"/>
                  </a:lnTo>
                  <a:lnTo>
                    <a:pt x="97400" y="50501"/>
                  </a:lnTo>
                  <a:lnTo>
                    <a:pt x="99247" y="50876"/>
                  </a:lnTo>
                  <a:lnTo>
                    <a:pt x="100499" y="51095"/>
                  </a:lnTo>
                  <a:lnTo>
                    <a:pt x="101282" y="51252"/>
                  </a:lnTo>
                  <a:lnTo>
                    <a:pt x="102065" y="51409"/>
                  </a:lnTo>
                  <a:lnTo>
                    <a:pt x="104914" y="51972"/>
                  </a:lnTo>
                  <a:lnTo>
                    <a:pt x="106323" y="52254"/>
                  </a:lnTo>
                  <a:lnTo>
                    <a:pt x="107732" y="52567"/>
                  </a:lnTo>
                  <a:lnTo>
                    <a:pt x="108170" y="52661"/>
                  </a:lnTo>
                  <a:lnTo>
                    <a:pt x="109140" y="52911"/>
                  </a:lnTo>
                  <a:lnTo>
                    <a:pt x="110142" y="53162"/>
                  </a:lnTo>
                  <a:lnTo>
                    <a:pt x="111113" y="53444"/>
                  </a:lnTo>
                  <a:lnTo>
                    <a:pt x="112083" y="53757"/>
                  </a:lnTo>
                  <a:lnTo>
                    <a:pt x="112240" y="53819"/>
                  </a:lnTo>
                  <a:lnTo>
                    <a:pt x="112647" y="53944"/>
                  </a:lnTo>
                  <a:lnTo>
                    <a:pt x="113743" y="54351"/>
                  </a:lnTo>
                  <a:lnTo>
                    <a:pt x="114807" y="54758"/>
                  </a:lnTo>
                  <a:lnTo>
                    <a:pt x="115590" y="55103"/>
                  </a:lnTo>
                  <a:lnTo>
                    <a:pt x="116341" y="55447"/>
                  </a:lnTo>
                  <a:lnTo>
                    <a:pt x="116999" y="55760"/>
                  </a:lnTo>
                  <a:lnTo>
                    <a:pt x="117562" y="56105"/>
                  </a:lnTo>
                  <a:lnTo>
                    <a:pt x="118126" y="56449"/>
                  </a:lnTo>
                  <a:lnTo>
                    <a:pt x="118595" y="56794"/>
                  </a:lnTo>
                  <a:lnTo>
                    <a:pt x="119002" y="57169"/>
                  </a:lnTo>
                  <a:lnTo>
                    <a:pt x="119410" y="57514"/>
                  </a:lnTo>
                  <a:lnTo>
                    <a:pt x="119723" y="57889"/>
                  </a:lnTo>
                  <a:lnTo>
                    <a:pt x="120004" y="58265"/>
                  </a:lnTo>
                  <a:lnTo>
                    <a:pt x="120255" y="58641"/>
                  </a:lnTo>
                  <a:lnTo>
                    <a:pt x="120474" y="59016"/>
                  </a:lnTo>
                  <a:lnTo>
                    <a:pt x="120631" y="59423"/>
                  </a:lnTo>
                  <a:lnTo>
                    <a:pt x="120756" y="59799"/>
                  </a:lnTo>
                  <a:lnTo>
                    <a:pt x="120818" y="60206"/>
                  </a:lnTo>
                  <a:lnTo>
                    <a:pt x="120881" y="60613"/>
                  </a:lnTo>
                  <a:lnTo>
                    <a:pt x="120881" y="61020"/>
                  </a:lnTo>
                  <a:lnTo>
                    <a:pt x="120881" y="61427"/>
                  </a:lnTo>
                  <a:lnTo>
                    <a:pt x="120818" y="61865"/>
                  </a:lnTo>
                  <a:lnTo>
                    <a:pt x="120724" y="62272"/>
                  </a:lnTo>
                  <a:lnTo>
                    <a:pt x="120631" y="62679"/>
                  </a:lnTo>
                  <a:lnTo>
                    <a:pt x="120474" y="63118"/>
                  </a:lnTo>
                  <a:lnTo>
                    <a:pt x="120317" y="63525"/>
                  </a:lnTo>
                  <a:lnTo>
                    <a:pt x="120098" y="63932"/>
                  </a:lnTo>
                  <a:lnTo>
                    <a:pt x="119879" y="64370"/>
                  </a:lnTo>
                  <a:lnTo>
                    <a:pt x="119629" y="64777"/>
                  </a:lnTo>
                  <a:lnTo>
                    <a:pt x="119065" y="65622"/>
                  </a:lnTo>
                  <a:lnTo>
                    <a:pt x="118439" y="66468"/>
                  </a:lnTo>
                  <a:lnTo>
                    <a:pt x="117719" y="67282"/>
                  </a:lnTo>
                  <a:lnTo>
                    <a:pt x="116967" y="68096"/>
                  </a:lnTo>
                  <a:lnTo>
                    <a:pt x="116153" y="68910"/>
                  </a:lnTo>
                  <a:lnTo>
                    <a:pt x="115277" y="69692"/>
                  </a:lnTo>
                  <a:lnTo>
                    <a:pt x="114400" y="70444"/>
                  </a:lnTo>
                  <a:lnTo>
                    <a:pt x="113492" y="71195"/>
                  </a:lnTo>
                  <a:lnTo>
                    <a:pt x="112584" y="71884"/>
                  </a:lnTo>
                  <a:lnTo>
                    <a:pt x="111676" y="72573"/>
                  </a:lnTo>
                  <a:lnTo>
                    <a:pt x="110800" y="73199"/>
                  </a:lnTo>
                  <a:lnTo>
                    <a:pt x="109923" y="73825"/>
                  </a:lnTo>
                  <a:lnTo>
                    <a:pt x="108295" y="74890"/>
                  </a:lnTo>
                  <a:lnTo>
                    <a:pt x="106886" y="75766"/>
                  </a:lnTo>
                  <a:lnTo>
                    <a:pt x="105790" y="76424"/>
                  </a:lnTo>
                  <a:lnTo>
                    <a:pt x="104789" y="76987"/>
                  </a:lnTo>
                  <a:lnTo>
                    <a:pt x="103505" y="77801"/>
                  </a:lnTo>
                  <a:lnTo>
                    <a:pt x="99591" y="80275"/>
                  </a:lnTo>
                  <a:lnTo>
                    <a:pt x="97400" y="81652"/>
                  </a:lnTo>
                  <a:lnTo>
                    <a:pt x="96805" y="81997"/>
                  </a:lnTo>
                  <a:lnTo>
                    <a:pt x="95584" y="82779"/>
                  </a:lnTo>
                  <a:lnTo>
                    <a:pt x="92954" y="84407"/>
                  </a:lnTo>
                  <a:lnTo>
                    <a:pt x="92891" y="84470"/>
                  </a:lnTo>
                  <a:lnTo>
                    <a:pt x="92453" y="84720"/>
                  </a:lnTo>
                  <a:lnTo>
                    <a:pt x="91984" y="84971"/>
                  </a:lnTo>
                  <a:lnTo>
                    <a:pt x="91545" y="85190"/>
                  </a:lnTo>
                  <a:lnTo>
                    <a:pt x="91076" y="85409"/>
                  </a:lnTo>
                  <a:lnTo>
                    <a:pt x="90136" y="85785"/>
                  </a:lnTo>
                  <a:lnTo>
                    <a:pt x="89134" y="86067"/>
                  </a:lnTo>
                  <a:lnTo>
                    <a:pt x="88164" y="86286"/>
                  </a:lnTo>
                  <a:lnTo>
                    <a:pt x="87663" y="86380"/>
                  </a:lnTo>
                  <a:lnTo>
                    <a:pt x="87162" y="86442"/>
                  </a:lnTo>
                  <a:lnTo>
                    <a:pt x="86630" y="86505"/>
                  </a:lnTo>
                  <a:lnTo>
                    <a:pt x="86129" y="86505"/>
                  </a:lnTo>
                  <a:lnTo>
                    <a:pt x="85628" y="86536"/>
                  </a:lnTo>
                  <a:lnTo>
                    <a:pt x="85096" y="86505"/>
                  </a:lnTo>
                  <a:lnTo>
                    <a:pt x="81464" y="86411"/>
                  </a:lnTo>
                  <a:lnTo>
                    <a:pt x="77550" y="86380"/>
                  </a:lnTo>
                  <a:lnTo>
                    <a:pt x="73480" y="86348"/>
                  </a:lnTo>
                  <a:lnTo>
                    <a:pt x="69348" y="86380"/>
                  </a:lnTo>
                  <a:lnTo>
                    <a:pt x="64182" y="86474"/>
                  </a:lnTo>
                  <a:lnTo>
                    <a:pt x="59360" y="86568"/>
                  </a:lnTo>
                  <a:lnTo>
                    <a:pt x="55165" y="86661"/>
                  </a:lnTo>
                  <a:lnTo>
                    <a:pt x="51846" y="86787"/>
                  </a:lnTo>
                  <a:lnTo>
                    <a:pt x="48872" y="86881"/>
                  </a:lnTo>
                  <a:lnTo>
                    <a:pt x="48027" y="86286"/>
                  </a:lnTo>
                  <a:lnTo>
                    <a:pt x="47088" y="85597"/>
                  </a:lnTo>
                  <a:lnTo>
                    <a:pt x="43863" y="83343"/>
                  </a:lnTo>
                  <a:lnTo>
                    <a:pt x="42078" y="82122"/>
                  </a:lnTo>
                  <a:lnTo>
                    <a:pt x="40231" y="80901"/>
                  </a:lnTo>
                  <a:lnTo>
                    <a:pt x="38853" y="80024"/>
                  </a:lnTo>
                  <a:lnTo>
                    <a:pt x="37445" y="79179"/>
                  </a:lnTo>
                  <a:lnTo>
                    <a:pt x="36818" y="78803"/>
                  </a:lnTo>
                  <a:lnTo>
                    <a:pt x="35535" y="78052"/>
                  </a:lnTo>
                  <a:lnTo>
                    <a:pt x="34189" y="77332"/>
                  </a:lnTo>
                  <a:lnTo>
                    <a:pt x="32842" y="76612"/>
                  </a:lnTo>
                  <a:lnTo>
                    <a:pt x="31496" y="75923"/>
                  </a:lnTo>
                  <a:lnTo>
                    <a:pt x="30087" y="75265"/>
                  </a:lnTo>
                  <a:lnTo>
                    <a:pt x="28678" y="74670"/>
                  </a:lnTo>
                  <a:lnTo>
                    <a:pt x="27238" y="74076"/>
                  </a:lnTo>
                  <a:lnTo>
                    <a:pt x="25798" y="73575"/>
                  </a:lnTo>
                  <a:lnTo>
                    <a:pt x="24326" y="73074"/>
                  </a:lnTo>
                  <a:lnTo>
                    <a:pt x="22855" y="72635"/>
                  </a:lnTo>
                  <a:lnTo>
                    <a:pt x="21352" y="72291"/>
                  </a:lnTo>
                  <a:lnTo>
                    <a:pt x="19849" y="71978"/>
                  </a:lnTo>
                  <a:lnTo>
                    <a:pt x="18315" y="71728"/>
                  </a:lnTo>
                  <a:lnTo>
                    <a:pt x="16813" y="71540"/>
                  </a:lnTo>
                  <a:lnTo>
                    <a:pt x="16030" y="71508"/>
                  </a:lnTo>
                  <a:lnTo>
                    <a:pt x="15247" y="71446"/>
                  </a:lnTo>
                  <a:lnTo>
                    <a:pt x="13713" y="71446"/>
                  </a:lnTo>
                  <a:lnTo>
                    <a:pt x="12899" y="71477"/>
                  </a:lnTo>
                  <a:lnTo>
                    <a:pt x="12085" y="71508"/>
                  </a:lnTo>
                  <a:lnTo>
                    <a:pt x="11271" y="71571"/>
                  </a:lnTo>
                  <a:lnTo>
                    <a:pt x="10457" y="71665"/>
                  </a:lnTo>
                  <a:lnTo>
                    <a:pt x="9643" y="71790"/>
                  </a:lnTo>
                  <a:lnTo>
                    <a:pt x="8829" y="71947"/>
                  </a:lnTo>
                  <a:lnTo>
                    <a:pt x="8015" y="72103"/>
                  </a:lnTo>
                  <a:lnTo>
                    <a:pt x="7201" y="72322"/>
                  </a:lnTo>
                  <a:lnTo>
                    <a:pt x="6387" y="72542"/>
                  </a:lnTo>
                  <a:lnTo>
                    <a:pt x="5573" y="72792"/>
                  </a:lnTo>
                  <a:lnTo>
                    <a:pt x="4759" y="73074"/>
                  </a:lnTo>
                  <a:lnTo>
                    <a:pt x="3945" y="73387"/>
                  </a:lnTo>
                  <a:lnTo>
                    <a:pt x="3131" y="73731"/>
                  </a:lnTo>
                  <a:lnTo>
                    <a:pt x="2317" y="74107"/>
                  </a:lnTo>
                  <a:lnTo>
                    <a:pt x="1503" y="74514"/>
                  </a:lnTo>
                  <a:lnTo>
                    <a:pt x="689" y="74952"/>
                  </a:lnTo>
                  <a:lnTo>
                    <a:pt x="532" y="75046"/>
                  </a:lnTo>
                  <a:lnTo>
                    <a:pt x="407" y="75171"/>
                  </a:lnTo>
                  <a:lnTo>
                    <a:pt x="282" y="75297"/>
                  </a:lnTo>
                  <a:lnTo>
                    <a:pt x="188" y="75422"/>
                  </a:lnTo>
                  <a:lnTo>
                    <a:pt x="125" y="75578"/>
                  </a:lnTo>
                  <a:lnTo>
                    <a:pt x="63" y="75735"/>
                  </a:lnTo>
                  <a:lnTo>
                    <a:pt x="31" y="75891"/>
                  </a:lnTo>
                  <a:lnTo>
                    <a:pt x="0" y="76048"/>
                  </a:lnTo>
                  <a:lnTo>
                    <a:pt x="0" y="76205"/>
                  </a:lnTo>
                  <a:lnTo>
                    <a:pt x="0" y="76361"/>
                  </a:lnTo>
                  <a:lnTo>
                    <a:pt x="31" y="76518"/>
                  </a:lnTo>
                  <a:lnTo>
                    <a:pt x="94" y="76674"/>
                  </a:lnTo>
                  <a:lnTo>
                    <a:pt x="188" y="76831"/>
                  </a:lnTo>
                  <a:lnTo>
                    <a:pt x="282" y="76956"/>
                  </a:lnTo>
                  <a:lnTo>
                    <a:pt x="407" y="77050"/>
                  </a:lnTo>
                  <a:lnTo>
                    <a:pt x="532" y="77144"/>
                  </a:lnTo>
                  <a:lnTo>
                    <a:pt x="2473" y="78302"/>
                  </a:lnTo>
                  <a:lnTo>
                    <a:pt x="4352" y="79429"/>
                  </a:lnTo>
                  <a:lnTo>
                    <a:pt x="6168" y="80556"/>
                  </a:lnTo>
                  <a:lnTo>
                    <a:pt x="7984" y="81683"/>
                  </a:lnTo>
                  <a:lnTo>
                    <a:pt x="11459" y="83938"/>
                  </a:lnTo>
                  <a:lnTo>
                    <a:pt x="14746" y="86129"/>
                  </a:lnTo>
                  <a:lnTo>
                    <a:pt x="17846" y="88290"/>
                  </a:lnTo>
                  <a:lnTo>
                    <a:pt x="20757" y="90356"/>
                  </a:lnTo>
                  <a:lnTo>
                    <a:pt x="23450" y="92328"/>
                  </a:lnTo>
                  <a:lnTo>
                    <a:pt x="25892" y="94175"/>
                  </a:lnTo>
                  <a:lnTo>
                    <a:pt x="28115" y="95866"/>
                  </a:lnTo>
                  <a:lnTo>
                    <a:pt x="30087" y="97400"/>
                  </a:lnTo>
                  <a:lnTo>
                    <a:pt x="31778" y="98778"/>
                  </a:lnTo>
                  <a:lnTo>
                    <a:pt x="33187" y="99936"/>
                  </a:lnTo>
                  <a:lnTo>
                    <a:pt x="35128" y="101564"/>
                  </a:lnTo>
                  <a:lnTo>
                    <a:pt x="35817" y="102128"/>
                  </a:lnTo>
                  <a:lnTo>
                    <a:pt x="38853" y="102566"/>
                  </a:lnTo>
                  <a:lnTo>
                    <a:pt x="42110" y="103036"/>
                  </a:lnTo>
                  <a:lnTo>
                    <a:pt x="45553" y="103568"/>
                  </a:lnTo>
                  <a:lnTo>
                    <a:pt x="49091" y="104163"/>
                  </a:lnTo>
                  <a:lnTo>
                    <a:pt x="56417" y="105384"/>
                  </a:lnTo>
                  <a:lnTo>
                    <a:pt x="63837" y="106699"/>
                  </a:lnTo>
                  <a:lnTo>
                    <a:pt x="71038" y="107982"/>
                  </a:lnTo>
                  <a:lnTo>
                    <a:pt x="77801" y="109235"/>
                  </a:lnTo>
                  <a:lnTo>
                    <a:pt x="88759" y="111332"/>
                  </a:lnTo>
                  <a:lnTo>
                    <a:pt x="89510" y="111458"/>
                  </a:lnTo>
                  <a:lnTo>
                    <a:pt x="90262" y="111551"/>
                  </a:lnTo>
                  <a:lnTo>
                    <a:pt x="91013" y="111645"/>
                  </a:lnTo>
                  <a:lnTo>
                    <a:pt x="91733" y="111677"/>
                  </a:lnTo>
                  <a:lnTo>
                    <a:pt x="92484" y="111708"/>
                  </a:lnTo>
                  <a:lnTo>
                    <a:pt x="93236" y="111677"/>
                  </a:lnTo>
                  <a:lnTo>
                    <a:pt x="93987" y="111645"/>
                  </a:lnTo>
                  <a:lnTo>
                    <a:pt x="94739" y="111583"/>
                  </a:lnTo>
                  <a:lnTo>
                    <a:pt x="95459" y="111489"/>
                  </a:lnTo>
                  <a:lnTo>
                    <a:pt x="96210" y="111364"/>
                  </a:lnTo>
                  <a:lnTo>
                    <a:pt x="96930" y="111207"/>
                  </a:lnTo>
                  <a:lnTo>
                    <a:pt x="97650" y="111051"/>
                  </a:lnTo>
                  <a:lnTo>
                    <a:pt x="98370" y="110831"/>
                  </a:lnTo>
                  <a:lnTo>
                    <a:pt x="99090" y="110612"/>
                  </a:lnTo>
                  <a:lnTo>
                    <a:pt x="99811" y="110330"/>
                  </a:lnTo>
                  <a:lnTo>
                    <a:pt x="100499" y="110049"/>
                  </a:lnTo>
                  <a:lnTo>
                    <a:pt x="105039" y="108108"/>
                  </a:lnTo>
                  <a:lnTo>
                    <a:pt x="109954" y="106041"/>
                  </a:lnTo>
                  <a:lnTo>
                    <a:pt x="115183" y="103912"/>
                  </a:lnTo>
                  <a:lnTo>
                    <a:pt x="120631" y="101689"/>
                  </a:lnTo>
                  <a:lnTo>
                    <a:pt x="131776" y="97212"/>
                  </a:lnTo>
                  <a:lnTo>
                    <a:pt x="142609" y="92923"/>
                  </a:lnTo>
                  <a:lnTo>
                    <a:pt x="152346" y="89104"/>
                  </a:lnTo>
                  <a:lnTo>
                    <a:pt x="160267" y="86004"/>
                  </a:lnTo>
                  <a:lnTo>
                    <a:pt x="167499" y="83218"/>
                  </a:lnTo>
                  <a:lnTo>
                    <a:pt x="169503" y="83030"/>
                  </a:lnTo>
                  <a:lnTo>
                    <a:pt x="172070" y="82873"/>
                  </a:lnTo>
                  <a:lnTo>
                    <a:pt x="178613" y="82466"/>
                  </a:lnTo>
                  <a:lnTo>
                    <a:pt x="186941" y="81997"/>
                  </a:lnTo>
                  <a:lnTo>
                    <a:pt x="191731" y="81683"/>
                  </a:lnTo>
                  <a:lnTo>
                    <a:pt x="196866" y="81339"/>
                  </a:lnTo>
                  <a:lnTo>
                    <a:pt x="198024" y="81245"/>
                  </a:lnTo>
                  <a:lnTo>
                    <a:pt x="203879" y="80807"/>
                  </a:lnTo>
                  <a:lnTo>
                    <a:pt x="210078" y="80275"/>
                  </a:lnTo>
                  <a:lnTo>
                    <a:pt x="214774" y="79836"/>
                  </a:lnTo>
                  <a:lnTo>
                    <a:pt x="220253" y="79304"/>
                  </a:lnTo>
                  <a:lnTo>
                    <a:pt x="224167" y="78897"/>
                  </a:lnTo>
                  <a:lnTo>
                    <a:pt x="228112" y="78459"/>
                  </a:lnTo>
                  <a:lnTo>
                    <a:pt x="232150" y="77989"/>
                  </a:lnTo>
                  <a:lnTo>
                    <a:pt x="236252" y="77457"/>
                  </a:lnTo>
                  <a:lnTo>
                    <a:pt x="240416" y="76925"/>
                  </a:lnTo>
                  <a:lnTo>
                    <a:pt x="244642" y="76330"/>
                  </a:lnTo>
                  <a:lnTo>
                    <a:pt x="248900" y="75704"/>
                  </a:lnTo>
                  <a:lnTo>
                    <a:pt x="253221" y="75046"/>
                  </a:lnTo>
                  <a:lnTo>
                    <a:pt x="257228" y="74389"/>
                  </a:lnTo>
                  <a:lnTo>
                    <a:pt x="261267" y="73669"/>
                  </a:lnTo>
                  <a:lnTo>
                    <a:pt x="265306" y="72949"/>
                  </a:lnTo>
                  <a:lnTo>
                    <a:pt x="269376" y="72166"/>
                  </a:lnTo>
                  <a:lnTo>
                    <a:pt x="273446" y="71352"/>
                  </a:lnTo>
                  <a:lnTo>
                    <a:pt x="277547" y="70506"/>
                  </a:lnTo>
                  <a:lnTo>
                    <a:pt x="281649" y="69599"/>
                  </a:lnTo>
                  <a:lnTo>
                    <a:pt x="285750" y="68628"/>
                  </a:lnTo>
                  <a:lnTo>
                    <a:pt x="285750" y="1"/>
                  </a:lnTo>
                  <a:close/>
                </a:path>
              </a:pathLst>
            </a:custGeom>
            <a:solidFill>
              <a:srgbClr val="EFA88F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7" name="Google Shape;768;p138">
              <a:extLst>
                <a:ext uri="{FF2B5EF4-FFF2-40B4-BE49-F238E27FC236}">
                  <a16:creationId xmlns:a16="http://schemas.microsoft.com/office/drawing/2014/main" id="{7CB5AAE5-1057-54BD-3E74-51187042B467}"/>
                </a:ext>
              </a:extLst>
            </p:cNvPr>
            <p:cNvSpPr/>
            <p:nvPr/>
          </p:nvSpPr>
          <p:spPr>
            <a:xfrm>
              <a:off x="4813800" y="2919300"/>
              <a:ext cx="1811200" cy="1617100"/>
            </a:xfrm>
            <a:custGeom>
              <a:avLst/>
              <a:gdLst/>
              <a:ahLst/>
              <a:cxnLst/>
              <a:rect l="l" t="t" r="r" b="b"/>
              <a:pathLst>
                <a:path w="72448" h="64684" extrusionOk="0">
                  <a:moveTo>
                    <a:pt x="24703" y="1"/>
                  </a:moveTo>
                  <a:lnTo>
                    <a:pt x="21541" y="1034"/>
                  </a:lnTo>
                  <a:lnTo>
                    <a:pt x="14246" y="3445"/>
                  </a:lnTo>
                  <a:lnTo>
                    <a:pt x="10082" y="4854"/>
                  </a:lnTo>
                  <a:lnTo>
                    <a:pt x="6168" y="6200"/>
                  </a:lnTo>
                  <a:lnTo>
                    <a:pt x="2881" y="7358"/>
                  </a:lnTo>
                  <a:lnTo>
                    <a:pt x="1598" y="7828"/>
                  </a:lnTo>
                  <a:lnTo>
                    <a:pt x="658" y="8204"/>
                  </a:lnTo>
                  <a:lnTo>
                    <a:pt x="564" y="8266"/>
                  </a:lnTo>
                  <a:lnTo>
                    <a:pt x="470" y="8329"/>
                  </a:lnTo>
                  <a:lnTo>
                    <a:pt x="314" y="8517"/>
                  </a:lnTo>
                  <a:lnTo>
                    <a:pt x="189" y="8798"/>
                  </a:lnTo>
                  <a:lnTo>
                    <a:pt x="126" y="9112"/>
                  </a:lnTo>
                  <a:lnTo>
                    <a:pt x="63" y="9519"/>
                  </a:lnTo>
                  <a:lnTo>
                    <a:pt x="32" y="9988"/>
                  </a:lnTo>
                  <a:lnTo>
                    <a:pt x="1" y="10520"/>
                  </a:lnTo>
                  <a:lnTo>
                    <a:pt x="32" y="11115"/>
                  </a:lnTo>
                  <a:lnTo>
                    <a:pt x="63" y="11741"/>
                  </a:lnTo>
                  <a:lnTo>
                    <a:pt x="157" y="12461"/>
                  </a:lnTo>
                  <a:lnTo>
                    <a:pt x="345" y="14027"/>
                  </a:lnTo>
                  <a:lnTo>
                    <a:pt x="627" y="15749"/>
                  </a:lnTo>
                  <a:lnTo>
                    <a:pt x="1003" y="17690"/>
                  </a:lnTo>
                  <a:lnTo>
                    <a:pt x="1472" y="19756"/>
                  </a:lnTo>
                  <a:lnTo>
                    <a:pt x="1973" y="21948"/>
                  </a:lnTo>
                  <a:lnTo>
                    <a:pt x="2537" y="24265"/>
                  </a:lnTo>
                  <a:lnTo>
                    <a:pt x="3163" y="26675"/>
                  </a:lnTo>
                  <a:lnTo>
                    <a:pt x="3820" y="29180"/>
                  </a:lnTo>
                  <a:lnTo>
                    <a:pt x="4540" y="31716"/>
                  </a:lnTo>
                  <a:lnTo>
                    <a:pt x="5292" y="34283"/>
                  </a:lnTo>
                  <a:lnTo>
                    <a:pt x="6043" y="36882"/>
                  </a:lnTo>
                  <a:lnTo>
                    <a:pt x="6826" y="39449"/>
                  </a:lnTo>
                  <a:lnTo>
                    <a:pt x="7640" y="42016"/>
                  </a:lnTo>
                  <a:lnTo>
                    <a:pt x="9237" y="46994"/>
                  </a:lnTo>
                  <a:lnTo>
                    <a:pt x="10833" y="51659"/>
                  </a:lnTo>
                  <a:lnTo>
                    <a:pt x="11585" y="53820"/>
                  </a:lnTo>
                  <a:lnTo>
                    <a:pt x="12336" y="55855"/>
                  </a:lnTo>
                  <a:lnTo>
                    <a:pt x="13025" y="57702"/>
                  </a:lnTo>
                  <a:lnTo>
                    <a:pt x="13682" y="59392"/>
                  </a:lnTo>
                  <a:lnTo>
                    <a:pt x="14277" y="60864"/>
                  </a:lnTo>
                  <a:lnTo>
                    <a:pt x="14841" y="62148"/>
                  </a:lnTo>
                  <a:lnTo>
                    <a:pt x="15342" y="63181"/>
                  </a:lnTo>
                  <a:lnTo>
                    <a:pt x="15749" y="63963"/>
                  </a:lnTo>
                  <a:lnTo>
                    <a:pt x="15937" y="64245"/>
                  </a:lnTo>
                  <a:lnTo>
                    <a:pt x="16125" y="64464"/>
                  </a:lnTo>
                  <a:lnTo>
                    <a:pt x="16250" y="64590"/>
                  </a:lnTo>
                  <a:lnTo>
                    <a:pt x="16375" y="64652"/>
                  </a:lnTo>
                  <a:lnTo>
                    <a:pt x="16532" y="64683"/>
                  </a:lnTo>
                  <a:lnTo>
                    <a:pt x="16751" y="64683"/>
                  </a:lnTo>
                  <a:lnTo>
                    <a:pt x="17408" y="64652"/>
                  </a:lnTo>
                  <a:lnTo>
                    <a:pt x="18316" y="64590"/>
                  </a:lnTo>
                  <a:lnTo>
                    <a:pt x="19474" y="64464"/>
                  </a:lnTo>
                  <a:lnTo>
                    <a:pt x="22449" y="64089"/>
                  </a:lnTo>
                  <a:lnTo>
                    <a:pt x="26143" y="63556"/>
                  </a:lnTo>
                  <a:lnTo>
                    <a:pt x="30432" y="62930"/>
                  </a:lnTo>
                  <a:lnTo>
                    <a:pt x="35160" y="62210"/>
                  </a:lnTo>
                  <a:lnTo>
                    <a:pt x="45304" y="60582"/>
                  </a:lnTo>
                  <a:lnTo>
                    <a:pt x="55354" y="58954"/>
                  </a:lnTo>
                  <a:lnTo>
                    <a:pt x="64026" y="57514"/>
                  </a:lnTo>
                  <a:lnTo>
                    <a:pt x="72448" y="56105"/>
                  </a:lnTo>
                  <a:lnTo>
                    <a:pt x="2470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8" name="Google Shape;769;p138">
              <a:extLst>
                <a:ext uri="{FF2B5EF4-FFF2-40B4-BE49-F238E27FC236}">
                  <a16:creationId xmlns:a16="http://schemas.microsoft.com/office/drawing/2014/main" id="{CF7D52C6-D0C4-0382-29A0-63B9BDAA3188}"/>
                </a:ext>
              </a:extLst>
            </p:cNvPr>
            <p:cNvSpPr/>
            <p:nvPr/>
          </p:nvSpPr>
          <p:spPr>
            <a:xfrm>
              <a:off x="5194975" y="2257925"/>
              <a:ext cx="2186900" cy="2363800"/>
            </a:xfrm>
            <a:custGeom>
              <a:avLst/>
              <a:gdLst/>
              <a:ahLst/>
              <a:cxnLst/>
              <a:rect l="l" t="t" r="r" b="b"/>
              <a:pathLst>
                <a:path w="87476" h="94552" extrusionOk="0">
                  <a:moveTo>
                    <a:pt x="87476" y="0"/>
                  </a:moveTo>
                  <a:lnTo>
                    <a:pt x="58766" y="9330"/>
                  </a:lnTo>
                  <a:lnTo>
                    <a:pt x="44239" y="14058"/>
                  </a:lnTo>
                  <a:lnTo>
                    <a:pt x="30652" y="18504"/>
                  </a:lnTo>
                  <a:lnTo>
                    <a:pt x="18692" y="22480"/>
                  </a:lnTo>
                  <a:lnTo>
                    <a:pt x="9112" y="25673"/>
                  </a:lnTo>
                  <a:lnTo>
                    <a:pt x="5449" y="26925"/>
                  </a:lnTo>
                  <a:lnTo>
                    <a:pt x="2662" y="27865"/>
                  </a:lnTo>
                  <a:lnTo>
                    <a:pt x="846" y="28553"/>
                  </a:lnTo>
                  <a:lnTo>
                    <a:pt x="345" y="28741"/>
                  </a:lnTo>
                  <a:lnTo>
                    <a:pt x="126" y="28867"/>
                  </a:lnTo>
                  <a:lnTo>
                    <a:pt x="63" y="28960"/>
                  </a:lnTo>
                  <a:lnTo>
                    <a:pt x="32" y="29086"/>
                  </a:lnTo>
                  <a:lnTo>
                    <a:pt x="1" y="29587"/>
                  </a:lnTo>
                  <a:lnTo>
                    <a:pt x="1" y="30213"/>
                  </a:lnTo>
                  <a:lnTo>
                    <a:pt x="95" y="31058"/>
                  </a:lnTo>
                  <a:lnTo>
                    <a:pt x="189" y="32060"/>
                  </a:lnTo>
                  <a:lnTo>
                    <a:pt x="345" y="33250"/>
                  </a:lnTo>
                  <a:lnTo>
                    <a:pt x="658" y="35410"/>
                  </a:lnTo>
                  <a:lnTo>
                    <a:pt x="1097" y="37915"/>
                  </a:lnTo>
                  <a:lnTo>
                    <a:pt x="1566" y="40732"/>
                  </a:lnTo>
                  <a:lnTo>
                    <a:pt x="2161" y="43801"/>
                  </a:lnTo>
                  <a:lnTo>
                    <a:pt x="2787" y="47088"/>
                  </a:lnTo>
                  <a:lnTo>
                    <a:pt x="3476" y="50532"/>
                  </a:lnTo>
                  <a:lnTo>
                    <a:pt x="4227" y="54101"/>
                  </a:lnTo>
                  <a:lnTo>
                    <a:pt x="5010" y="57764"/>
                  </a:lnTo>
                  <a:lnTo>
                    <a:pt x="5824" y="61490"/>
                  </a:lnTo>
                  <a:lnTo>
                    <a:pt x="6670" y="65215"/>
                  </a:lnTo>
                  <a:lnTo>
                    <a:pt x="7515" y="68878"/>
                  </a:lnTo>
                  <a:lnTo>
                    <a:pt x="8391" y="72479"/>
                  </a:lnTo>
                  <a:lnTo>
                    <a:pt x="9268" y="75923"/>
                  </a:lnTo>
                  <a:lnTo>
                    <a:pt x="10113" y="79241"/>
                  </a:lnTo>
                  <a:lnTo>
                    <a:pt x="10959" y="82341"/>
                  </a:lnTo>
                  <a:lnTo>
                    <a:pt x="11804" y="85159"/>
                  </a:lnTo>
                  <a:lnTo>
                    <a:pt x="12524" y="87569"/>
                  </a:lnTo>
                  <a:lnTo>
                    <a:pt x="13244" y="89667"/>
                  </a:lnTo>
                  <a:lnTo>
                    <a:pt x="13651" y="90763"/>
                  </a:lnTo>
                  <a:lnTo>
                    <a:pt x="14027" y="91733"/>
                  </a:lnTo>
                  <a:lnTo>
                    <a:pt x="14403" y="92579"/>
                  </a:lnTo>
                  <a:lnTo>
                    <a:pt x="14778" y="93267"/>
                  </a:lnTo>
                  <a:lnTo>
                    <a:pt x="15091" y="93831"/>
                  </a:lnTo>
                  <a:lnTo>
                    <a:pt x="15248" y="94050"/>
                  </a:lnTo>
                  <a:lnTo>
                    <a:pt x="15405" y="94238"/>
                  </a:lnTo>
                  <a:lnTo>
                    <a:pt x="15561" y="94363"/>
                  </a:lnTo>
                  <a:lnTo>
                    <a:pt x="15686" y="94457"/>
                  </a:lnTo>
                  <a:lnTo>
                    <a:pt x="15843" y="94520"/>
                  </a:lnTo>
                  <a:lnTo>
                    <a:pt x="15968" y="94551"/>
                  </a:lnTo>
                  <a:lnTo>
                    <a:pt x="16782" y="94426"/>
                  </a:lnTo>
                  <a:lnTo>
                    <a:pt x="18379" y="94207"/>
                  </a:lnTo>
                  <a:lnTo>
                    <a:pt x="23670" y="93330"/>
                  </a:lnTo>
                  <a:lnTo>
                    <a:pt x="31309" y="92046"/>
                  </a:lnTo>
                  <a:lnTo>
                    <a:pt x="40795" y="90418"/>
                  </a:lnTo>
                  <a:lnTo>
                    <a:pt x="63369" y="86474"/>
                  </a:lnTo>
                  <a:lnTo>
                    <a:pt x="87476" y="82247"/>
                  </a:lnTo>
                  <a:lnTo>
                    <a:pt x="87476" y="0"/>
                  </a:ln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nb-NO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600CA211-5DE2-96EF-797E-117BD0557E41}"/>
              </a:ext>
            </a:extLst>
          </p:cNvPr>
          <p:cNvSpPr/>
          <p:nvPr/>
        </p:nvSpPr>
        <p:spPr>
          <a:xfrm>
            <a:off x="5743481" y="5402379"/>
            <a:ext cx="5551410" cy="1194560"/>
          </a:xfrm>
          <a:prstGeom prst="roundRect">
            <a:avLst>
              <a:gd name="adj" fmla="val 9470"/>
            </a:avLst>
          </a:prstGeom>
          <a:solidFill>
            <a:srgbClr val="85A0BE">
              <a:lumMod val="20000"/>
              <a:lumOff val="80000"/>
            </a:srgbClr>
          </a:solidFill>
          <a:ln w="19050" cap="flat" cmpd="sng" algn="ctr">
            <a:solidFill>
              <a:srgbClr val="003329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0" cap="none" spc="0" normalizeH="0" baseline="0" noProof="0" dirty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Aptos" panose="020B00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F231F975-DE03-48A0-1EC3-615802373F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7856" y="5089763"/>
            <a:ext cx="707053" cy="615909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FB61F946-A20F-9E34-FFFE-CC9C0BF03870}"/>
              </a:ext>
            </a:extLst>
          </p:cNvPr>
          <p:cNvSpPr txBox="1"/>
          <p:nvPr/>
        </p:nvSpPr>
        <p:spPr>
          <a:xfrm>
            <a:off x="6045404" y="5500862"/>
            <a:ext cx="5097776" cy="104644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noProof="0" dirty="0">
                <a:solidFill>
                  <a:srgbClr val="0E28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yll inn tallene i boksen over ved hjelp av gevinstverktøyet ditt</a:t>
            </a:r>
            <a:r>
              <a:rPr lang="nb-NO" sz="1200" dirty="0">
                <a:solidFill>
                  <a:srgbClr val="0E28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arkfane </a:t>
            </a:r>
            <a:r>
              <a:rPr lang="nb-NO" sz="1200" b="1" dirty="0">
                <a:solidFill>
                  <a:srgbClr val="0E28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sikt og nøkkeltall. </a:t>
            </a:r>
            <a:r>
              <a:rPr lang="nb-NO" sz="1200" noProof="0" dirty="0">
                <a:solidFill>
                  <a:srgbClr val="0E28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jern denne boksen etterpå.</a:t>
            </a:r>
            <a:endParaRPr lang="nb-NO" sz="1200" b="1" noProof="0" dirty="0">
              <a:solidFill>
                <a:srgbClr val="0E28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defRPr/>
            </a:pPr>
            <a:r>
              <a:rPr lang="nb-NO" sz="1100">
                <a:solidFill>
                  <a:srgbClr val="0E2841"/>
                </a:solidFill>
                <a:latin typeface="Arial"/>
                <a:cs typeface="Arial"/>
              </a:rPr>
              <a:t>*Beregningen "gevinster omregnet til kapasitet" bygger på at ett årsverk utgjør 1 545 produktive timer per år (35,5 timer per uke med fratrekk for ferie, helligdager og normalt fravær). </a:t>
            </a:r>
            <a:endParaRPr lang="nb-NO" sz="1100"/>
          </a:p>
        </p:txBody>
      </p: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E1B175CF-770D-3F04-A6DC-26B5F705E3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1627751"/>
              </p:ext>
            </p:extLst>
          </p:nvPr>
        </p:nvGraphicFramePr>
        <p:xfrm>
          <a:off x="5742774" y="692324"/>
          <a:ext cx="5554502" cy="4229007"/>
        </p:xfrm>
        <a:graphic>
          <a:graphicData uri="http://schemas.openxmlformats.org/drawingml/2006/table">
            <a:tbl>
              <a:tblPr/>
              <a:tblGrid>
                <a:gridCol w="2425558">
                  <a:extLst>
                    <a:ext uri="{9D8B030D-6E8A-4147-A177-3AD203B41FA5}">
                      <a16:colId xmlns:a16="http://schemas.microsoft.com/office/drawing/2014/main" val="2551712329"/>
                    </a:ext>
                  </a:extLst>
                </a:gridCol>
                <a:gridCol w="695367">
                  <a:extLst>
                    <a:ext uri="{9D8B030D-6E8A-4147-A177-3AD203B41FA5}">
                      <a16:colId xmlns:a16="http://schemas.microsoft.com/office/drawing/2014/main" val="240100560"/>
                    </a:ext>
                  </a:extLst>
                </a:gridCol>
                <a:gridCol w="282575">
                  <a:extLst>
                    <a:ext uri="{9D8B030D-6E8A-4147-A177-3AD203B41FA5}">
                      <a16:colId xmlns:a16="http://schemas.microsoft.com/office/drawing/2014/main" val="800698933"/>
                    </a:ext>
                  </a:extLst>
                </a:gridCol>
                <a:gridCol w="445035">
                  <a:extLst>
                    <a:ext uri="{9D8B030D-6E8A-4147-A177-3AD203B41FA5}">
                      <a16:colId xmlns:a16="http://schemas.microsoft.com/office/drawing/2014/main" val="40228491"/>
                    </a:ext>
                  </a:extLst>
                </a:gridCol>
                <a:gridCol w="695367">
                  <a:extLst>
                    <a:ext uri="{9D8B030D-6E8A-4147-A177-3AD203B41FA5}">
                      <a16:colId xmlns:a16="http://schemas.microsoft.com/office/drawing/2014/main" val="12702252"/>
                    </a:ext>
                  </a:extLst>
                </a:gridCol>
                <a:gridCol w="1010600">
                  <a:extLst>
                    <a:ext uri="{9D8B030D-6E8A-4147-A177-3AD203B41FA5}">
                      <a16:colId xmlns:a16="http://schemas.microsoft.com/office/drawing/2014/main" val="1953354325"/>
                    </a:ext>
                  </a:extLst>
                </a:gridCol>
              </a:tblGrid>
              <a:tr h="50091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b-NO" sz="1100" b="1" i="0" u="none" strike="noStrike" dirty="0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Nøkkeltall</a:t>
                      </a:r>
                    </a:p>
                  </a:txBody>
                  <a:tcPr marL="25717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547832"/>
                  </a:ext>
                </a:extLst>
              </a:tr>
              <a:tr h="27919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b-NO" sz="1000" b="0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Antall tjenestemottakere</a:t>
                      </a:r>
                    </a:p>
                  </a:txBody>
                  <a:tcPr marL="25717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nb-NO" sz="1000" b="0" i="0" u="none" strike="noStrike" dirty="0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0183837"/>
                  </a:ext>
                </a:extLst>
              </a:tr>
              <a:tr h="27919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b-NO" sz="1000" b="0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Antall målinger gjennomført</a:t>
                      </a:r>
                    </a:p>
                  </a:txBody>
                  <a:tcPr marL="25717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nb-NO" sz="1000" b="0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701017"/>
                  </a:ext>
                </a:extLst>
              </a:tr>
              <a:tr h="27919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b-NO" sz="1000" b="0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Antall måneder siden nullpunkt</a:t>
                      </a:r>
                    </a:p>
                  </a:txBody>
                  <a:tcPr marL="25717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nb-NO" sz="1000" b="0" i="0" u="none" strike="noStrike" dirty="0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1686624"/>
                  </a:ext>
                </a:extLst>
              </a:tr>
              <a:tr h="279197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133026"/>
                  </a:ext>
                </a:extLst>
              </a:tr>
              <a:tr h="279197">
                <a:tc gridSpan="5"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b-NO" sz="900" b="1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Totale kostnader for innføring av DHO for gjennomførte målinger</a:t>
                      </a:r>
                    </a:p>
                  </a:txBody>
                  <a:tcPr marL="25717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nb-NO" sz="1000" b="1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 kr    415 000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169081"/>
                  </a:ext>
                </a:extLst>
              </a:tr>
              <a:tr h="29562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b-NO" sz="1000" b="0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Bruttogevinst</a:t>
                      </a:r>
                    </a:p>
                  </a:txBody>
                  <a:tcPr marL="25717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nb-NO" sz="1000" b="0" i="0" u="none" strike="noStrike">
                          <a:solidFill>
                            <a:srgbClr val="001236"/>
                          </a:solidFill>
                          <a:effectLst/>
                          <a:latin typeface="Arial"/>
                        </a:rPr>
                        <a:t>978 615</a:t>
                      </a: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4356072"/>
                  </a:ext>
                </a:extLst>
              </a:tr>
              <a:tr h="188868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4084586"/>
                  </a:ext>
                </a:extLst>
              </a:tr>
              <a:tr h="16423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b-NO" sz="1000" b="1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Nettogevinst</a:t>
                      </a:r>
                      <a:r>
                        <a:rPr lang="nb-NO" sz="1000" b="0" i="1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 (urealisert)</a:t>
                      </a:r>
                      <a:endParaRPr lang="nb-NO" sz="1000" b="1" i="0" u="none" strike="noStrike">
                        <a:solidFill>
                          <a:srgbClr val="00123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717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1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1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1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nb-NO" sz="1000" b="1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nb-NO" sz="1000" b="1" i="0" u="none" strike="noStrike">
                          <a:solidFill>
                            <a:srgbClr val="001236"/>
                          </a:solidFill>
                          <a:effectLst/>
                          <a:latin typeface="Arial"/>
                        </a:rPr>
                        <a:t> kr    563 6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232801"/>
                  </a:ext>
                </a:extLst>
              </a:tr>
              <a:tr h="229926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nb-NO" sz="105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7606651"/>
                  </a:ext>
                </a:extLst>
              </a:tr>
              <a:tr h="16423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b-NO" sz="1000" b="0" i="1" u="none" strike="noStrike">
                          <a:solidFill>
                            <a:srgbClr val="001236"/>
                          </a:solidFill>
                          <a:effectLst/>
                          <a:latin typeface="Arial"/>
                        </a:rPr>
                        <a:t>Gevinster omregnet til kapasitet*</a:t>
                      </a:r>
                      <a:endParaRPr lang="nb-NO" sz="1000" b="0" i="1" u="none" strike="noStrike">
                        <a:solidFill>
                          <a:srgbClr val="00123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717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864230"/>
                  </a:ext>
                </a:extLst>
              </a:tr>
              <a:tr h="164233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nb-NO" sz="800" b="0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Årsverk (FTE 35,5 t)</a:t>
                      </a:r>
                    </a:p>
                  </a:txBody>
                  <a:tcPr marL="257175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nb-NO" sz="1000" b="0" i="0" u="none" strike="noStrike">
                          <a:solidFill>
                            <a:srgbClr val="001236"/>
                          </a:solidFill>
                          <a:effectLst/>
                          <a:latin typeface="Arial"/>
                        </a:rPr>
                        <a:t>0,69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5296898"/>
                  </a:ext>
                </a:extLst>
              </a:tr>
              <a:tr h="164233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nb-NO" sz="700" b="0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Gjennomsnittlig årslønn sykepleier 100%</a:t>
                      </a:r>
                    </a:p>
                  </a:txBody>
                  <a:tcPr marL="257175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nb-NO" sz="700" b="0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 kr                 600 000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58244"/>
                  </a:ext>
                </a:extLst>
              </a:tr>
              <a:tr h="303832">
                <a:tc gridSpan="5"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nb-NO" sz="700" b="0" i="0" u="none" strike="noStrike">
                          <a:solidFill>
                            <a:srgbClr val="001236"/>
                          </a:solidFill>
                          <a:effectLst/>
                          <a:latin typeface="Arial"/>
                        </a:rPr>
                        <a:t>Bruker 1,37 som påslagsfaktor for tillegg, feriepenger, arbeidsgiveravgift og pensjon</a:t>
                      </a:r>
                    </a:p>
                  </a:txBody>
                  <a:tcPr marL="257175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4210007"/>
                  </a:ext>
                </a:extLst>
              </a:tr>
              <a:tr h="164233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endParaRPr lang="nb-NO" sz="7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638253"/>
                  </a:ext>
                </a:extLst>
              </a:tr>
              <a:tr h="164233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nb-NO" sz="7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926285"/>
                  </a:ext>
                </a:extLst>
              </a:tr>
              <a:tr h="164233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nb-NO" sz="800" b="0" i="0" u="none" strike="noStrike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Flere tilgjengelige timer per år</a:t>
                      </a:r>
                    </a:p>
                  </a:txBody>
                  <a:tcPr marL="257175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25717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nb-NO" sz="1000" b="0" i="0" u="none" strike="noStrike">
                          <a:solidFill>
                            <a:srgbClr val="001236"/>
                          </a:solidFill>
                          <a:effectLst/>
                          <a:latin typeface="Arial"/>
                        </a:rPr>
                        <a:t>1127</a:t>
                      </a: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6805464"/>
                  </a:ext>
                </a:extLst>
              </a:tr>
              <a:tr h="164233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nb-NO" sz="1000" b="0" i="0" u="none" strike="noStrike" dirty="0">
                        <a:solidFill>
                          <a:srgbClr val="001236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nb-NO" sz="1000" b="0" i="0" u="none" strike="noStrike" dirty="0">
                          <a:solidFill>
                            <a:srgbClr val="001236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9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7998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7760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0B52486A-2119-611F-F321-EA2D36A854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4036B596-EC6C-821F-1751-77A739310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564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36B596-EC6C-821F-1751-77A739310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37">
            <a:extLst>
              <a:ext uri="{FF2B5EF4-FFF2-40B4-BE49-F238E27FC236}">
                <a16:creationId xmlns:a16="http://schemas.microsoft.com/office/drawing/2014/main" id="{E9BF34CA-3DEF-F333-B7CF-644975D900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4464" y="458407"/>
            <a:ext cx="11403071" cy="5853262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BF2157B5-67E4-958F-E23B-16DB8550904F}"/>
              </a:ext>
            </a:extLst>
          </p:cNvPr>
          <p:cNvGrpSpPr/>
          <p:nvPr/>
        </p:nvGrpSpPr>
        <p:grpSpPr>
          <a:xfrm>
            <a:off x="7296149" y="-95250"/>
            <a:ext cx="4682361" cy="1096781"/>
            <a:chOff x="5434305" y="5112802"/>
            <a:chExt cx="5843653" cy="1289404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449764AB-5E3E-F8E5-5E65-8629646FE77C}"/>
                </a:ext>
              </a:extLst>
            </p:cNvPr>
            <p:cNvSpPr/>
            <p:nvPr/>
          </p:nvSpPr>
          <p:spPr>
            <a:xfrm>
              <a:off x="5718081" y="5360046"/>
              <a:ext cx="5559877" cy="1042160"/>
            </a:xfrm>
            <a:prstGeom prst="roundRect">
              <a:avLst>
                <a:gd name="adj" fmla="val 9470"/>
              </a:avLst>
            </a:prstGeom>
            <a:solidFill>
              <a:srgbClr val="85A0BE">
                <a:lumMod val="20000"/>
                <a:lumOff val="80000"/>
              </a:srgbClr>
            </a:solidFill>
            <a:ln w="19050" cap="flat" cmpd="sng" algn="ctr">
              <a:solidFill>
                <a:srgbClr val="003329"/>
              </a:solidFill>
              <a:prstDash val="solid"/>
              <a:miter lim="800000"/>
            </a:ln>
            <a:effectLst/>
          </p:spPr>
          <p:txBody>
            <a:bodyPr lIns="216000" tIns="180000" rIns="324000" bIns="4572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rial"/>
                  <a:cs typeface="Arial"/>
                </a:rPr>
                <a:t>Ta skjermutklipp fra Excel-filen din. </a:t>
              </a:r>
              <a:r>
                <a:rPr lang="nb-NO" sz="1100" kern="0" dirty="0">
                  <a:solidFill>
                    <a:srgbClr val="0E2841"/>
                  </a:solidFill>
                  <a:latin typeface="Arial"/>
                  <a:cs typeface="Arial"/>
                </a:rPr>
                <a:t>Her kan du </a:t>
              </a:r>
              <a:r>
                <a:rPr kumimoji="0" lang="nb-NO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rial"/>
                  <a:cs typeface="Arial"/>
                </a:rPr>
                <a:t>velge selv hvilke modeller du ønsker å fremheve. Fremhev de som er </a:t>
              </a: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rial"/>
                  <a:cs typeface="Arial"/>
                </a:rPr>
                <a:t>relevante for deres prosjekt. Fjern denne boksen </a:t>
              </a:r>
              <a:r>
                <a:rPr lang="nb-NO" sz="1100" kern="0">
                  <a:solidFill>
                    <a:srgbClr val="0E2841"/>
                  </a:solidFill>
                  <a:latin typeface="Arial"/>
                  <a:cs typeface="Arial"/>
                </a:rPr>
                <a:t>etterpå</a:t>
              </a: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rial"/>
                  <a:cs typeface="Arial"/>
                </a:rPr>
                <a:t>.</a:t>
              </a:r>
              <a:endParaRPr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F6025F47-48DC-CB81-47EC-8E0760E55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34305" y="5112802"/>
              <a:ext cx="680604" cy="5562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72756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B40A86-16BE-0C13-9244-B38F7C5195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502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B40A86-16BE-0C13-9244-B38F7C51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1" name="Google Shape;741;g3376fdc34da_0_1998"/>
          <p:cNvSpPr txBox="1">
            <a:spLocks noGrp="1"/>
          </p:cNvSpPr>
          <p:nvPr>
            <p:ph type="title"/>
          </p:nvPr>
        </p:nvSpPr>
        <p:spPr>
          <a:xfrm>
            <a:off x="1117600" y="3688291"/>
            <a:ext cx="14020800" cy="17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</a:pPr>
            <a:r>
              <a:rPr lang="nb-NO" noProof="0" dirty="0"/>
              <a:t>Casene vi skal jobbe med</a:t>
            </a:r>
          </a:p>
        </p:txBody>
      </p:sp>
      <p:sp>
        <p:nvSpPr>
          <p:cNvPr id="742" name="Google Shape;742;g3376fdc34da_0_1998"/>
          <p:cNvSpPr/>
          <p:nvPr/>
        </p:nvSpPr>
        <p:spPr>
          <a:xfrm>
            <a:off x="255475" y="198700"/>
            <a:ext cx="11680500" cy="6452100"/>
          </a:xfrm>
          <a:prstGeom prst="rect">
            <a:avLst/>
          </a:prstGeom>
          <a:solidFill>
            <a:srgbClr val="ECF0F5"/>
          </a:solidFill>
          <a:ln>
            <a:noFill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  <a:tabLst/>
              <a:defRPr/>
            </a:pPr>
            <a:endParaRPr kumimoji="0" lang="nb-NO" sz="1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3" name="Google Shape;743;g3376fdc34da_0_1998"/>
          <p:cNvSpPr txBox="1">
            <a:spLocks noGrp="1"/>
          </p:cNvSpPr>
          <p:nvPr>
            <p:ph type="ctrTitle" idx="4294967295"/>
          </p:nvPr>
        </p:nvSpPr>
        <p:spPr>
          <a:xfrm>
            <a:off x="1523725" y="2793681"/>
            <a:ext cx="9144000" cy="126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7125" tIns="48575" rIns="97125" bIns="48575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0439"/>
              </a:buClr>
              <a:buSzPts val="6400"/>
              <a:buFont typeface="Arial"/>
              <a:buNone/>
            </a:pPr>
            <a:r>
              <a:rPr lang="nb-NO" sz="4300" noProof="0" dirty="0">
                <a:solidFill>
                  <a:srgbClr val="20207A"/>
                </a:solidFill>
              </a:rPr>
              <a:t>Innsikt fra gevinstverktøyet</a:t>
            </a:r>
            <a:endParaRPr lang="nb-NO" noProof="0" dirty="0">
              <a:solidFill>
                <a:srgbClr val="2020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616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17A7EBF4-F674-0A04-B554-A35C0F082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3B5FBBF4-DEA8-AA29-35FC-6991F8A575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797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5FBBF4-DEA8-AA29-35FC-6991F8A57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7389A59E-29FC-764D-687A-222ADC3F933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6831" y="609233"/>
            <a:ext cx="5369169" cy="59291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Nettogevinster</a:t>
            </a:r>
          </a:p>
        </p:txBody>
      </p:sp>
      <p:sp>
        <p:nvSpPr>
          <p:cNvPr id="3" name="Google Shape;733;p138">
            <a:extLst>
              <a:ext uri="{FF2B5EF4-FFF2-40B4-BE49-F238E27FC236}">
                <a16:creationId xmlns:a16="http://schemas.microsoft.com/office/drawing/2014/main" id="{81DFC112-F613-B006-0696-3F78B1CF7335}"/>
              </a:ext>
            </a:extLst>
          </p:cNvPr>
          <p:cNvSpPr txBox="1">
            <a:spLocks/>
          </p:cNvSpPr>
          <p:nvPr/>
        </p:nvSpPr>
        <p:spPr>
          <a:xfrm>
            <a:off x="830955" y="1519520"/>
            <a:ext cx="4393089" cy="1867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 fontScale="25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57200" indent="-45720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3200" noProof="0" dirty="0"/>
              <a:t>Figuren viser nettogevinsten for DHO-tjenesten, beregnet fra gjennomførte målinger: bruttogevinst (samlede endringer i kostnader for hjemmetjenester, sykehus- og korttidsopphold) minus investerings- og driftskostnader. </a:t>
            </a:r>
          </a:p>
          <a:p>
            <a:pPr marL="457200" indent="-45720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sz="3200" noProof="0" dirty="0"/>
          </a:p>
          <a:p>
            <a:pPr marL="457200" indent="-45720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3200" noProof="0" dirty="0"/>
              <a:t>Besparelser oppstår typisk ved færre hjemmebesøk, færre (re)innleggelser eller kortere opphold. Manglende besparelser kan skyldes økt oppfølgingsarbeid, lav utnyttelse i oppstarten, dobbeltløp under implementering, pasientsammensetning med lav risiko eller at gevinster først realiseres senere. Nettogevinsten kan dermed </a:t>
            </a:r>
            <a:r>
              <a:rPr lang="nb-NO" sz="3200" noProof="0"/>
              <a:t>være både positiv og negativ over tid og mellom enheter.</a:t>
            </a:r>
            <a:br>
              <a:rPr lang="nb-NO" sz="3200" noProof="0" dirty="0"/>
            </a:br>
            <a:br>
              <a:rPr lang="nb-NO" sz="3200" noProof="0" dirty="0"/>
            </a:br>
            <a:r>
              <a:rPr lang="nb-NO" sz="3200" b="1" noProof="0"/>
              <a:t>Slik tolkes resultatet</a:t>
            </a:r>
            <a:endParaRPr lang="nb-NO" sz="3200" noProof="0"/>
          </a:p>
          <a:p>
            <a:pPr marL="457200" indent="-45720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3200" noProof="0" dirty="0"/>
              <a:t>Positiv verdi: De målte kostnadsreduksjonene (bruttogevinst) er større enn investerings- og driftskostnadene i perioden.</a:t>
            </a:r>
            <a:br>
              <a:rPr lang="nb-NO" sz="3200" noProof="0" dirty="0"/>
            </a:br>
            <a:endParaRPr lang="nb-NO" sz="3200" noProof="0" dirty="0"/>
          </a:p>
          <a:p>
            <a:pPr marL="457200" indent="-45720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3200" noProof="0" dirty="0"/>
              <a:t>Negativ verdi: Investering og drift overstiger de målte reduksjonene – typisk i oppstart, ved lav utnyttelse eller økt oppfølgingsbehov.</a:t>
            </a:r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sz="16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noProof="0" dirty="0"/>
          </a:p>
          <a:p>
            <a:pPr marL="171450" marR="0" lvl="0" indent="-171450" algn="l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3B8C41-2172-9CAA-AE99-322E75F7781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21" r="-1"/>
          <a:stretch>
            <a:fillRect/>
          </a:stretch>
        </p:blipFill>
        <p:spPr>
          <a:xfrm>
            <a:off x="5807676" y="1352743"/>
            <a:ext cx="5553369" cy="4067743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35A9B29D-F921-342E-D981-127E2F803F48}"/>
              </a:ext>
            </a:extLst>
          </p:cNvPr>
          <p:cNvGrpSpPr/>
          <p:nvPr/>
        </p:nvGrpSpPr>
        <p:grpSpPr>
          <a:xfrm>
            <a:off x="7262316" y="5420484"/>
            <a:ext cx="4682361" cy="856489"/>
            <a:chOff x="5434305" y="5112802"/>
            <a:chExt cx="5843653" cy="100691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C72EFC4-BC42-C9C4-BED2-D8BA26DE0568}"/>
                </a:ext>
              </a:extLst>
            </p:cNvPr>
            <p:cNvSpPr/>
            <p:nvPr/>
          </p:nvSpPr>
          <p:spPr>
            <a:xfrm>
              <a:off x="5718081" y="5360046"/>
              <a:ext cx="5559877" cy="759667"/>
            </a:xfrm>
            <a:prstGeom prst="roundRect">
              <a:avLst>
                <a:gd name="adj" fmla="val 9470"/>
              </a:avLst>
            </a:prstGeom>
            <a:solidFill>
              <a:srgbClr val="85A0BE">
                <a:lumMod val="20000"/>
                <a:lumOff val="80000"/>
              </a:srgbClr>
            </a:solidFill>
            <a:ln w="19050" cap="flat" cmpd="sng" algn="ctr">
              <a:solidFill>
                <a:srgbClr val="003329"/>
              </a:solidFill>
              <a:prstDash val="solid"/>
              <a:miter lim="800000"/>
            </a:ln>
            <a:effectLst/>
          </p:spPr>
          <p:txBody>
            <a:bodyPr lIns="216000" tIns="180000" rIns="324000" bIns="4572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ptos"/>
                  <a:cs typeface="Arial"/>
                </a:rPr>
                <a:t>Ta skjermutklipp fra Excel-filen din. Fjern denne boksen </a:t>
              </a:r>
              <a:r>
                <a:rPr lang="nb-NO" sz="1200" kern="0">
                  <a:solidFill>
                    <a:srgbClr val="0E2841"/>
                  </a:solidFill>
                  <a:latin typeface="Aptos"/>
                  <a:cs typeface="Arial"/>
                </a:rPr>
                <a:t>etterpå</a:t>
              </a:r>
              <a:r>
                <a:rPr kumimoji="0" lang="nb-NO" sz="1200" b="0" i="0" u="none" strike="noStrike" kern="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ptos"/>
                  <a:cs typeface="Arial"/>
                </a:rPr>
                <a:t>.</a:t>
              </a:r>
              <a:endParaRPr lang="en-US">
                <a:latin typeface="Aptos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AB541CD-7EA1-4539-2EED-40AA8AF4B3C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34305" y="5112802"/>
              <a:ext cx="680604" cy="556215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55FF37E-D717-29FE-BEEE-8160C1EE30BC}"/>
              </a:ext>
            </a:extLst>
          </p:cNvPr>
          <p:cNvGrpSpPr/>
          <p:nvPr/>
        </p:nvGrpSpPr>
        <p:grpSpPr>
          <a:xfrm>
            <a:off x="950071" y="4703967"/>
            <a:ext cx="4393089" cy="1422840"/>
            <a:chOff x="1044145" y="4722782"/>
            <a:chExt cx="4393089" cy="142284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1E7FABB-E76A-104A-78DF-97A5836B8501}"/>
                </a:ext>
              </a:extLst>
            </p:cNvPr>
            <p:cNvSpPr>
              <a:spLocks/>
            </p:cNvSpPr>
            <p:nvPr/>
          </p:nvSpPr>
          <p:spPr>
            <a:xfrm>
              <a:off x="1044145" y="4722782"/>
              <a:ext cx="4393089" cy="1422840"/>
            </a:xfrm>
            <a:prstGeom prst="rect">
              <a:avLst/>
            </a:prstGeom>
            <a:solidFill>
              <a:srgbClr val="CFD9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noProof="0" dirty="0">
                <a:latin typeface="+mj-lt"/>
              </a:endParaRPr>
            </a:p>
          </p:txBody>
        </p:sp>
        <p:sp>
          <p:nvSpPr>
            <p:cNvPr id="21" name="Google Shape;733;p138">
              <a:extLst>
                <a:ext uri="{FF2B5EF4-FFF2-40B4-BE49-F238E27FC236}">
                  <a16:creationId xmlns:a16="http://schemas.microsoft.com/office/drawing/2014/main" id="{BB1002F7-F7CD-7AC7-B368-269D8A93A69C}"/>
                </a:ext>
              </a:extLst>
            </p:cNvPr>
            <p:cNvSpPr txBox="1">
              <a:spLocks/>
            </p:cNvSpPr>
            <p:nvPr/>
          </p:nvSpPr>
          <p:spPr>
            <a:xfrm>
              <a:off x="1167412" y="4889038"/>
              <a:ext cx="4151445" cy="10657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rmAutofit fontScale="85000" lnSpcReduction="10000"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nb-NO" sz="1300" dirty="0">
                  <a:latin typeface="Segoe UI"/>
                  <a:cs typeface="Segoe UI"/>
                </a:rPr>
                <a:t>Her kan du legge inn egne refleksjoner, vurderinger eller </a:t>
              </a:r>
              <a:r>
                <a:rPr lang="nb-NO" sz="1300">
                  <a:latin typeface="Segoe UI"/>
                  <a:cs typeface="Segoe UI"/>
                </a:rPr>
                <a:t>supplerende kommentarer som du ønsker å gi mer synlighet.</a:t>
              </a:r>
              <a:endParaRPr lang="en-US" sz="1500"/>
            </a:p>
            <a:p>
              <a:pPr>
                <a:lnSpc>
                  <a:spcPct val="150000"/>
                </a:lnSpc>
                <a:buClr>
                  <a:srgbClr val="7BD2CD"/>
                </a:buClr>
                <a:buSzPct val="130000"/>
              </a:pPr>
              <a:br>
                <a:rPr lang="nb-NO" sz="1200" noProof="0" dirty="0"/>
              </a:br>
              <a:br>
                <a:rPr lang="nb-NO" sz="1200" noProof="0" dirty="0"/>
              </a:br>
              <a:r>
                <a:rPr lang="nb-NO" sz="1200" noProof="0" dirty="0"/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82244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056716B1-6F62-D76E-9E47-5C789422E2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A6332E32-BF73-F307-8A5D-4896907A19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294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332E32-BF73-F307-8A5D-4896907A19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6474BF48-B8AA-5B6E-78ED-4317787F3C8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6831" y="609233"/>
            <a:ext cx="5369169" cy="59291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Helsetjenester i hjemmet</a:t>
            </a:r>
          </a:p>
        </p:txBody>
      </p:sp>
      <p:sp>
        <p:nvSpPr>
          <p:cNvPr id="3" name="Google Shape;733;p138">
            <a:extLst>
              <a:ext uri="{FF2B5EF4-FFF2-40B4-BE49-F238E27FC236}">
                <a16:creationId xmlns:a16="http://schemas.microsoft.com/office/drawing/2014/main" id="{A8B066A8-A698-E885-F682-9E82C203DB6E}"/>
              </a:ext>
            </a:extLst>
          </p:cNvPr>
          <p:cNvSpPr txBox="1">
            <a:spLocks/>
          </p:cNvSpPr>
          <p:nvPr/>
        </p:nvSpPr>
        <p:spPr>
          <a:xfrm>
            <a:off x="830955" y="1595331"/>
            <a:ext cx="4393089" cy="1867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4570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900" noProof="0" dirty="0">
                <a:latin typeface="Arial" panose="020B0604020202020204" pitchFamily="34" charset="0"/>
                <a:cs typeface="Arial" panose="020B0604020202020204" pitchFamily="34" charset="0"/>
              </a:rPr>
              <a:t>Denne figuren viser kostnadsavvik i kroner for endringer i kostnader for helsetjenester i hjemmet (inkludert kjøring) per måleperiode. Avviket beregnes som (faktiske timer − normerte timer) × pleierens estimerte timekostnad × antall måneder (måleintervall). </a:t>
            </a:r>
            <a:br>
              <a:rPr lang="nb-NO" sz="9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nb-NO" sz="9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900" b="1" noProof="0" dirty="0">
                <a:latin typeface="Arial" panose="020B0604020202020204" pitchFamily="34" charset="0"/>
                <a:cs typeface="Arial" panose="020B0604020202020204" pitchFamily="34" charset="0"/>
              </a:rPr>
              <a:t>Slik tolkes resultatet</a:t>
            </a:r>
            <a:endParaRPr lang="nb-NO" sz="9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570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900" noProof="0" dirty="0">
                <a:latin typeface="Arial" panose="020B0604020202020204" pitchFamily="34" charset="0"/>
                <a:cs typeface="Arial" panose="020B0604020202020204" pitchFamily="34" charset="0"/>
              </a:rPr>
              <a:t>Negativt tall: brukt mindre tid enn normert → kostnadsreduksjon.</a:t>
            </a:r>
          </a:p>
          <a:p>
            <a:pPr marL="24570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900" noProof="0" dirty="0">
                <a:latin typeface="Arial" panose="020B0604020202020204" pitchFamily="34" charset="0"/>
                <a:cs typeface="Arial" panose="020B0604020202020204" pitchFamily="34" charset="0"/>
              </a:rPr>
              <a:t>Positivt tall: brukt mer tid enn normert → kostnadsøkning.</a:t>
            </a:r>
          </a:p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endParaRPr lang="nb-NO" sz="18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sz="16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noProof="0" dirty="0"/>
          </a:p>
          <a:p>
            <a:pPr marL="171450" marR="0" lvl="0" indent="-171450" algn="l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CF003C-886C-D3DC-DEFC-531585C6879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040" t="3703" r="1069" b="2265"/>
          <a:stretch>
            <a:fillRect/>
          </a:stretch>
        </p:blipFill>
        <p:spPr>
          <a:xfrm>
            <a:off x="5931243" y="1807878"/>
            <a:ext cx="5659395" cy="3792215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1E2EE929-49BD-9FB1-0284-10273E8BA578}"/>
              </a:ext>
            </a:extLst>
          </p:cNvPr>
          <p:cNvGrpSpPr/>
          <p:nvPr/>
        </p:nvGrpSpPr>
        <p:grpSpPr>
          <a:xfrm>
            <a:off x="7262316" y="5420484"/>
            <a:ext cx="4682361" cy="856489"/>
            <a:chOff x="5434305" y="5112802"/>
            <a:chExt cx="5843653" cy="100691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596873E-9ED7-EF17-CA3A-D42A8765241B}"/>
                </a:ext>
              </a:extLst>
            </p:cNvPr>
            <p:cNvSpPr/>
            <p:nvPr/>
          </p:nvSpPr>
          <p:spPr>
            <a:xfrm>
              <a:off x="5718081" y="5360046"/>
              <a:ext cx="5559877" cy="759667"/>
            </a:xfrm>
            <a:prstGeom prst="roundRect">
              <a:avLst>
                <a:gd name="adj" fmla="val 9470"/>
              </a:avLst>
            </a:prstGeom>
            <a:solidFill>
              <a:srgbClr val="85A0BE">
                <a:lumMod val="20000"/>
                <a:lumOff val="80000"/>
              </a:srgbClr>
            </a:solidFill>
            <a:ln w="19050" cap="flat" cmpd="sng" algn="ctr">
              <a:solidFill>
                <a:srgbClr val="003329"/>
              </a:solidFill>
              <a:prstDash val="solid"/>
              <a:miter lim="800000"/>
            </a:ln>
            <a:effectLst/>
          </p:spPr>
          <p:txBody>
            <a:bodyPr lIns="216000" tIns="180000" rIns="324000" bIns="4572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Arial"/>
                </a:rPr>
                <a:t>Ta skjermutklipp fra Excel-filen din. Fjern denne boksen </a:t>
              </a:r>
              <a:r>
                <a:rPr lang="nb-NO" sz="1200" kern="0">
                  <a:solidFill>
                    <a:srgbClr val="0E2841"/>
                  </a:solidFill>
                  <a:latin typeface="Aptos" panose="020B0004020202020204"/>
                  <a:cs typeface="Arial"/>
                </a:rPr>
                <a:t>etterpå</a:t>
              </a:r>
              <a:r>
                <a:rPr kumimoji="0" lang="nb-NO" sz="1200" b="0" i="0" u="none" strike="noStrike" kern="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Arial"/>
                </a:rPr>
                <a:t>.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D08345A-F80C-A928-C808-AB02F6516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34305" y="5112802"/>
              <a:ext cx="680604" cy="556215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7B454199-8156-CC76-4B68-AC79BEF33218}"/>
              </a:ext>
            </a:extLst>
          </p:cNvPr>
          <p:cNvSpPr>
            <a:spLocks/>
          </p:cNvSpPr>
          <p:nvPr/>
        </p:nvSpPr>
        <p:spPr>
          <a:xfrm>
            <a:off x="950071" y="4703967"/>
            <a:ext cx="4393089" cy="1422840"/>
          </a:xfrm>
          <a:prstGeom prst="rect">
            <a:avLst/>
          </a:prstGeom>
          <a:solidFill>
            <a:srgbClr val="CFD9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latin typeface="+mj-lt"/>
            </a:endParaRPr>
          </a:p>
        </p:txBody>
      </p:sp>
      <p:sp>
        <p:nvSpPr>
          <p:cNvPr id="7" name="Google Shape;733;p138">
            <a:extLst>
              <a:ext uri="{FF2B5EF4-FFF2-40B4-BE49-F238E27FC236}">
                <a16:creationId xmlns:a16="http://schemas.microsoft.com/office/drawing/2014/main" id="{3FD1044F-9C16-B292-F279-738767EF0DA6}"/>
              </a:ext>
            </a:extLst>
          </p:cNvPr>
          <p:cNvSpPr txBox="1">
            <a:spLocks/>
          </p:cNvSpPr>
          <p:nvPr/>
        </p:nvSpPr>
        <p:spPr>
          <a:xfrm>
            <a:off x="1073338" y="4870223"/>
            <a:ext cx="4151445" cy="1065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b-NO" sz="1300" dirty="0">
                <a:latin typeface="Segoe UI"/>
                <a:cs typeface="Segoe UI"/>
              </a:rPr>
              <a:t>Her kan du legge inn egne refleksjoner, vurderinger eller </a:t>
            </a:r>
            <a:r>
              <a:rPr lang="nb-NO" sz="1300">
                <a:latin typeface="Segoe UI"/>
                <a:cs typeface="Segoe UI"/>
              </a:rPr>
              <a:t>supplerende kommentarer som du ønsker å gi mer synlighet.</a:t>
            </a:r>
            <a:endParaRPr lang="en-US" sz="1500"/>
          </a:p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br>
              <a:rPr lang="nb-NO" sz="1200" noProof="0" dirty="0"/>
            </a:br>
            <a:br>
              <a:rPr lang="nb-NO" sz="1200" noProof="0" dirty="0"/>
            </a:br>
            <a:r>
              <a:rPr lang="nb-NO" sz="1200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6618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>
          <a:extLst>
            <a:ext uri="{FF2B5EF4-FFF2-40B4-BE49-F238E27FC236}">
              <a16:creationId xmlns:a16="http://schemas.microsoft.com/office/drawing/2014/main" id="{9C9CAED4-D935-9C97-4D36-FEB1024B77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B34E6929-D345-B562-213A-FC7D5844D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7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4E6929-D345-B562-213A-FC7D5844D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9" name="Google Shape;749;g3376fdc34da_0_802">
            <a:extLst>
              <a:ext uri="{FF2B5EF4-FFF2-40B4-BE49-F238E27FC236}">
                <a16:creationId xmlns:a16="http://schemas.microsoft.com/office/drawing/2014/main" id="{46BA7874-2334-ADA3-0467-4A20519AA9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615583"/>
            <a:ext cx="4957386" cy="59291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3200" noProof="0" dirty="0">
                <a:solidFill>
                  <a:srgbClr val="20207A"/>
                </a:solidFill>
              </a:rPr>
              <a:t>Korttidsopphold/ ØHD</a:t>
            </a:r>
          </a:p>
        </p:txBody>
      </p:sp>
      <p:sp>
        <p:nvSpPr>
          <p:cNvPr id="3" name="Google Shape;733;p138">
            <a:extLst>
              <a:ext uri="{FF2B5EF4-FFF2-40B4-BE49-F238E27FC236}">
                <a16:creationId xmlns:a16="http://schemas.microsoft.com/office/drawing/2014/main" id="{CB914A5D-ECE3-B77D-D601-A160F0AA9353}"/>
              </a:ext>
            </a:extLst>
          </p:cNvPr>
          <p:cNvSpPr txBox="1">
            <a:spLocks/>
          </p:cNvSpPr>
          <p:nvPr/>
        </p:nvSpPr>
        <p:spPr>
          <a:xfrm>
            <a:off x="838199" y="1619466"/>
            <a:ext cx="4393089" cy="1867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7145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900" noProof="0" dirty="0">
                <a:latin typeface="Arial" panose="020B0604020202020204" pitchFamily="34" charset="0"/>
                <a:cs typeface="Arial" panose="020B0604020202020204" pitchFamily="34" charset="0"/>
              </a:rPr>
              <a:t>Denne figuren viser kostnadsavvik i kroner for korttidsopphold/DHO per måleperiode. Avviket beregnes som (faktiske døgn − normerte døgn) × estimert kostnad per døgn kommunalt korttidsopphold × antall måneder (måleintervall). </a:t>
            </a:r>
            <a:br>
              <a:rPr lang="nb-NO" sz="900" noProof="0" dirty="0"/>
            </a:br>
            <a:br>
              <a:rPr lang="nb-NO" sz="900" noProof="0" dirty="0"/>
            </a:br>
            <a:r>
              <a:rPr lang="nb-NO" sz="900" b="1" noProof="0" dirty="0"/>
              <a:t>Slik tolkes resultatet</a:t>
            </a:r>
            <a:endParaRPr lang="nb-NO" sz="900" noProof="0" dirty="0"/>
          </a:p>
          <a:p>
            <a:pPr marL="72000" indent="-171450">
              <a:lnSpc>
                <a:spcPct val="150000"/>
              </a:lnSpc>
              <a:spcBef>
                <a:spcPts val="600"/>
              </a:spcBef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900" noProof="0" dirty="0"/>
              <a:t>Negativt tall: brukt mindre tid enn normert → kostnadsreduksjon.</a:t>
            </a:r>
          </a:p>
          <a:p>
            <a:pPr marL="7200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r>
              <a:rPr lang="nb-NO" sz="900" noProof="0" dirty="0"/>
              <a:t>Positivt tall: brukt mer tid enn normert → kostnadsøkning</a:t>
            </a:r>
          </a:p>
          <a:p>
            <a:pPr marL="72000" indent="-171450">
              <a:lnSpc>
                <a:spcPct val="15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sz="1800" noProof="0" dirty="0"/>
          </a:p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endParaRPr lang="nb-NO" sz="18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sz="1600" noProof="0" dirty="0"/>
          </a:p>
          <a:p>
            <a:pPr marL="171450" indent="-171450">
              <a:lnSpc>
                <a:spcPct val="200000"/>
              </a:lnSpc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</a:pPr>
            <a:endParaRPr lang="nb-NO" noProof="0" dirty="0"/>
          </a:p>
          <a:p>
            <a:pPr marL="171450" marR="0" lvl="0" indent="-171450" algn="l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7BD2CD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64A0D7-B853-2468-AA8F-F4B015BDCF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1632554"/>
            <a:ext cx="5378086" cy="371132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7BB66E8-3AA1-2440-CEBF-8DB502AF2838}"/>
              </a:ext>
            </a:extLst>
          </p:cNvPr>
          <p:cNvGrpSpPr/>
          <p:nvPr/>
        </p:nvGrpSpPr>
        <p:grpSpPr>
          <a:xfrm>
            <a:off x="7262316" y="5420484"/>
            <a:ext cx="4682361" cy="856489"/>
            <a:chOff x="5434305" y="5112802"/>
            <a:chExt cx="5843653" cy="100691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48717F2-695F-67C8-1565-424C37433362}"/>
                </a:ext>
              </a:extLst>
            </p:cNvPr>
            <p:cNvSpPr/>
            <p:nvPr/>
          </p:nvSpPr>
          <p:spPr>
            <a:xfrm>
              <a:off x="5718081" y="5360046"/>
              <a:ext cx="5559877" cy="759667"/>
            </a:xfrm>
            <a:prstGeom prst="roundRect">
              <a:avLst>
                <a:gd name="adj" fmla="val 9470"/>
              </a:avLst>
            </a:prstGeom>
            <a:solidFill>
              <a:srgbClr val="85A0BE">
                <a:lumMod val="20000"/>
                <a:lumOff val="80000"/>
              </a:srgbClr>
            </a:solidFill>
            <a:ln w="19050" cap="flat" cmpd="sng" algn="ctr">
              <a:solidFill>
                <a:srgbClr val="003329"/>
              </a:solidFill>
              <a:prstDash val="solid"/>
              <a:miter lim="800000"/>
            </a:ln>
            <a:effectLst/>
          </p:spPr>
          <p:txBody>
            <a:bodyPr lIns="216000" tIns="180000" rIns="324000" bIns="4572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Arial"/>
                </a:rPr>
                <a:t>Ta skjermutklipp fra Excel-filen din. Fjern denne boksen </a:t>
              </a:r>
              <a:r>
                <a:rPr lang="nb-NO" sz="1200" kern="0">
                  <a:solidFill>
                    <a:srgbClr val="0E2841"/>
                  </a:solidFill>
                  <a:latin typeface="Aptos" panose="020B0004020202020204"/>
                  <a:cs typeface="Arial"/>
                </a:rPr>
                <a:t>etterpå</a:t>
              </a:r>
              <a:r>
                <a:rPr kumimoji="0" lang="nb-NO" sz="1200" b="0" i="0" u="none" strike="noStrike" kern="0" cap="none" spc="0" normalizeH="0" baseline="0" noProof="0">
                  <a:ln>
                    <a:noFill/>
                  </a:ln>
                  <a:solidFill>
                    <a:srgbClr val="0E2841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Arial"/>
                </a:rPr>
                <a:t>.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1976E04-76E6-EA3C-1627-DA77DCAE2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34305" y="5112802"/>
              <a:ext cx="680604" cy="556215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EA106AC4-62A5-2BCF-5485-EA6F52D4E23E}"/>
              </a:ext>
            </a:extLst>
          </p:cNvPr>
          <p:cNvSpPr>
            <a:spLocks/>
          </p:cNvSpPr>
          <p:nvPr/>
        </p:nvSpPr>
        <p:spPr>
          <a:xfrm>
            <a:off x="950071" y="4703967"/>
            <a:ext cx="4393089" cy="1422840"/>
          </a:xfrm>
          <a:prstGeom prst="rect">
            <a:avLst/>
          </a:prstGeom>
          <a:solidFill>
            <a:srgbClr val="CFD9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latin typeface="+mj-lt"/>
            </a:endParaRPr>
          </a:p>
        </p:txBody>
      </p:sp>
      <p:sp>
        <p:nvSpPr>
          <p:cNvPr id="14" name="Google Shape;733;p138">
            <a:extLst>
              <a:ext uri="{FF2B5EF4-FFF2-40B4-BE49-F238E27FC236}">
                <a16:creationId xmlns:a16="http://schemas.microsoft.com/office/drawing/2014/main" id="{B0F3B8EE-95D7-A844-19FB-B144F15A5F34}"/>
              </a:ext>
            </a:extLst>
          </p:cNvPr>
          <p:cNvSpPr txBox="1">
            <a:spLocks/>
          </p:cNvSpPr>
          <p:nvPr/>
        </p:nvSpPr>
        <p:spPr>
          <a:xfrm>
            <a:off x="1073338" y="4870223"/>
            <a:ext cx="4151445" cy="1065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b-NO" sz="1300" dirty="0">
                <a:latin typeface="Segoe UI"/>
                <a:cs typeface="Segoe UI"/>
              </a:rPr>
              <a:t>Her kan du legge inn egne refleksjoner, vurderinger eller </a:t>
            </a:r>
            <a:r>
              <a:rPr lang="nb-NO" sz="1300">
                <a:latin typeface="Segoe UI"/>
                <a:cs typeface="Segoe UI"/>
              </a:rPr>
              <a:t>supplerende kommentarer som du ønsker å gi mer synlighet.</a:t>
            </a:r>
            <a:endParaRPr lang="en-US" sz="1500"/>
          </a:p>
          <a:p>
            <a:pPr>
              <a:lnSpc>
                <a:spcPct val="150000"/>
              </a:lnSpc>
              <a:buClr>
                <a:srgbClr val="7BD2CD"/>
              </a:buClr>
              <a:buSzPct val="130000"/>
            </a:pPr>
            <a:br>
              <a:rPr lang="nb-NO" sz="1200" noProof="0" dirty="0"/>
            </a:br>
            <a:br>
              <a:rPr lang="nb-NO" sz="1200" noProof="0" dirty="0"/>
            </a:br>
            <a:r>
              <a:rPr lang="nb-NO" sz="1200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49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HP-R2XKZJ" val="FgAAAA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ys med mønster">
  <a:themeElements>
    <a:clrScheme name="Custom 2">
      <a:dk1>
        <a:srgbClr val="040439"/>
      </a:dk1>
      <a:lt1>
        <a:srgbClr val="FFFFFF"/>
      </a:lt1>
      <a:dk2>
        <a:srgbClr val="20207A"/>
      </a:dk2>
      <a:lt2>
        <a:srgbClr val="BAAA9C"/>
      </a:lt2>
      <a:accent1>
        <a:srgbClr val="85A0BE"/>
      </a:accent1>
      <a:accent2>
        <a:srgbClr val="6DD2CD"/>
      </a:accent2>
      <a:accent3>
        <a:srgbClr val="FEBF7D"/>
      </a:accent3>
      <a:accent4>
        <a:srgbClr val="99E0DD"/>
      </a:accent4>
      <a:accent5>
        <a:srgbClr val="FCAC94"/>
      </a:accent5>
      <a:accent6>
        <a:srgbClr val="B6EAF7"/>
      </a:accent6>
      <a:hlink>
        <a:srgbClr val="20207A"/>
      </a:hlink>
      <a:folHlink>
        <a:srgbClr val="85A0B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D68A6ABE73E7429C73C5ADB8612BB9" ma:contentTypeVersion="16" ma:contentTypeDescription="Create a new document." ma:contentTypeScope="" ma:versionID="3e38b814036f6984a594a07b7206640e">
  <xsd:schema xmlns:xsd="http://www.w3.org/2001/XMLSchema" xmlns:xs="http://www.w3.org/2001/XMLSchema" xmlns:p="http://schemas.microsoft.com/office/2006/metadata/properties" xmlns:ns2="a24396be-51cf-4a61-9f62-9f27889e6001" xmlns:ns3="e87dbd15-c1af-4801-8e2b-c0e4a1d6b1d8" targetNamespace="http://schemas.microsoft.com/office/2006/metadata/properties" ma:root="true" ma:fieldsID="5c793d4134dad3efb57361f362839ca8" ns2:_="" ns3:_="">
    <xsd:import namespace="a24396be-51cf-4a61-9f62-9f27889e6001"/>
    <xsd:import namespace="e87dbd15-c1af-4801-8e2b-c0e4a1d6b1d8"/>
    <xsd:element name="properties">
      <xsd:complexType>
        <xsd:sequence>
          <xsd:element name="documentManagement">
            <xsd:complexType>
              <xsd:all>
                <xsd:element ref="ns2:Links" minOccurs="0"/>
                <xsd:element ref="ns2:_Flow_SignoffStatus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Billing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4396be-51cf-4a61-9f62-9f27889e6001" elementFormDefault="qualified">
    <xsd:import namespace="http://schemas.microsoft.com/office/2006/documentManagement/types"/>
    <xsd:import namespace="http://schemas.microsoft.com/office/infopath/2007/PartnerControls"/>
    <xsd:element name="Links" ma:index="8" nillable="true" ma:displayName="Links" ma:list="{73230f5c-52c5-45b1-b9e0-23a5958d7e2c}" ma:internalName="Links" ma:readOnly="true" ma:showField="From_x0020_Document">
      <xsd:simpleType>
        <xsd:restriction base="dms:Lookup"/>
      </xsd:simpleType>
    </xsd:element>
    <xsd:element name="_Flow_SignoffStatus" ma:index="9" nillable="true" ma:displayName="Sign Off" ma:internalName="SignOff">
      <xsd:simpleType>
        <xsd:restriction base="dms:Text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7bde53e-b0a2-4e98-8550-8a152603f3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7dbd15-c1af-4801-8e2b-c0e4a1d6b1d8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bc61f1f5-0467-4390-a0d7-0cbf3e42f4ed}" ma:internalName="TaxCatchAll" ma:showField="CatchAllData" ma:web="e87dbd15-c1af-4801-8e2b-c0e4a1d6b1d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24396be-51cf-4a61-9f62-9f27889e6001">
      <Terms xmlns="http://schemas.microsoft.com/office/infopath/2007/PartnerControls"/>
    </lcf76f155ced4ddcb4097134ff3c332f>
    <TaxCatchAll xmlns="e87dbd15-c1af-4801-8e2b-c0e4a1d6b1d8" xsi:nil="true"/>
    <_Flow_SignoffStatus xmlns="a24396be-51cf-4a61-9f62-9f27889e6001" xsi:nil="true"/>
  </documentManagement>
</p:properties>
</file>

<file path=customXml/itemProps1.xml><?xml version="1.0" encoding="utf-8"?>
<ds:datastoreItem xmlns:ds="http://schemas.openxmlformats.org/officeDocument/2006/customXml" ds:itemID="{6379C65C-4BC2-451A-83E4-3C91D079D6A1}">
  <ds:schemaRefs>
    <ds:schemaRef ds:uri="a24396be-51cf-4a61-9f62-9f27889e6001"/>
    <ds:schemaRef ds:uri="e87dbd15-c1af-4801-8e2b-c0e4a1d6b1d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9E60887-B16F-4317-85D8-5DAB9BF2AF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89909FB-7C8C-4A07-B0EA-FBB70749BD62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e87dbd15-c1af-4801-8e2b-c0e4a1d6b1d8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a24396be-51cf-4a61-9f62-9f27889e6001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262</TotalTime>
  <Words>1195</Words>
  <Application>Microsoft Office PowerPoint</Application>
  <PresentationFormat>Widescreen</PresentationFormat>
  <Paragraphs>143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ptos</vt:lpstr>
      <vt:lpstr>Arial</vt:lpstr>
      <vt:lpstr>Calibri</vt:lpstr>
      <vt:lpstr>Century</vt:lpstr>
      <vt:lpstr>Georgia</vt:lpstr>
      <vt:lpstr>Helvetica Neue</vt:lpstr>
      <vt:lpstr>Noto Sans Symbols</vt:lpstr>
      <vt:lpstr>Open Sans Light</vt:lpstr>
      <vt:lpstr>Segoe UI</vt:lpstr>
      <vt:lpstr>Tienne</vt:lpstr>
      <vt:lpstr>Lys med mønster</vt:lpstr>
      <vt:lpstr>think-cell Slide</vt:lpstr>
      <vt:lpstr>[Prosjekt/Initiativ] – [Periode] Mal: Gevinstrapport</vt:lpstr>
      <vt:lpstr>PowerPoint Presentation</vt:lpstr>
      <vt:lpstr>Agenda</vt:lpstr>
      <vt:lpstr>Sammendrag</vt:lpstr>
      <vt:lpstr>PowerPoint Presentation</vt:lpstr>
      <vt:lpstr>Casene vi skal jobbe med</vt:lpstr>
      <vt:lpstr>Nettogevinster</vt:lpstr>
      <vt:lpstr>Helsetjenester i hjemmet</vt:lpstr>
      <vt:lpstr>Korttidsopphold/ ØHD</vt:lpstr>
      <vt:lpstr>Sykehusopphold</vt:lpstr>
      <vt:lpstr>Casene vi skal jobbe med</vt:lpstr>
      <vt:lpstr>Pasienttilfredshet</vt:lpstr>
      <vt:lpstr>Medarbeidertilfredshet</vt:lpstr>
      <vt:lpstr>Casene vi skal jobbe med</vt:lpstr>
      <vt:lpstr>Dette gjør vi som fungerer bra</vt:lpstr>
      <vt:lpstr>[Figurbokser til visualisering]</vt:lpstr>
      <vt:lpstr>Dette skal vi bli bedre på og følge op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Hedda Hagvåg Samuelsen (NO)</cp:lastModifiedBy>
  <cp:revision>104</cp:revision>
  <dcterms:created xsi:type="dcterms:W3CDTF">2025-10-22T13:39:11Z</dcterms:created>
  <dcterms:modified xsi:type="dcterms:W3CDTF">2026-03-18T15:1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D68A6ABE73E7429C73C5ADB8612BB9</vt:lpwstr>
  </property>
  <property fmtid="{D5CDD505-2E9C-101B-9397-08002B2CF9AE}" pid="3" name="MediaServiceImageTags">
    <vt:lpwstr/>
  </property>
</Properties>
</file>